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09" r:id="rId5"/>
    <p:sldMasterId id="2147483715" r:id="rId6"/>
    <p:sldMasterId id="2147483660" r:id="rId7"/>
  </p:sldMasterIdLst>
  <p:notesMasterIdLst>
    <p:notesMasterId r:id="rId24"/>
  </p:notesMasterIdLst>
  <p:sldIdLst>
    <p:sldId id="2134806072" r:id="rId8"/>
    <p:sldId id="2134806047" r:id="rId9"/>
    <p:sldId id="2134806085" r:id="rId10"/>
    <p:sldId id="2134806094" r:id="rId11"/>
    <p:sldId id="2134806095" r:id="rId12"/>
    <p:sldId id="2134806084" r:id="rId13"/>
    <p:sldId id="2134806083" r:id="rId14"/>
    <p:sldId id="2134806086" r:id="rId15"/>
    <p:sldId id="2134806087" r:id="rId16"/>
    <p:sldId id="2134806088" r:id="rId17"/>
    <p:sldId id="2134806090" r:id="rId18"/>
    <p:sldId id="2134806089" r:id="rId19"/>
    <p:sldId id="2134806091" r:id="rId20"/>
    <p:sldId id="2134806092" r:id="rId21"/>
    <p:sldId id="2134806093" r:id="rId22"/>
    <p:sldId id="263"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ECFA"/>
    <a:srgbClr val="EEE7F9"/>
    <a:srgbClr val="175C82"/>
    <a:srgbClr val="D0D1DB"/>
    <a:srgbClr val="54BD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90F84D-728B-40A6-A7C3-065237AA149E}" v="1" dt="2025-06-30T07:54:44.2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y Ivison" userId="767f360b-839d-47f8-9ee7-e0cff77c302f" providerId="ADAL" clId="{4890F84D-728B-40A6-A7C3-065237AA149E}"/>
    <pc:docChg chg="modSld">
      <pc:chgData name="Jenny Ivison" userId="767f360b-839d-47f8-9ee7-e0cff77c302f" providerId="ADAL" clId="{4890F84D-728B-40A6-A7C3-065237AA149E}" dt="2025-06-30T07:54:44.259" v="0" actId="1076"/>
      <pc:docMkLst>
        <pc:docMk/>
      </pc:docMkLst>
      <pc:sldChg chg="modSp mod">
        <pc:chgData name="Jenny Ivison" userId="767f360b-839d-47f8-9ee7-e0cff77c302f" providerId="ADAL" clId="{4890F84D-728B-40A6-A7C3-065237AA149E}" dt="2025-06-30T07:54:44.259" v="0" actId="1076"/>
        <pc:sldMkLst>
          <pc:docMk/>
          <pc:sldMk cId="192850047" sldId="2134806094"/>
        </pc:sldMkLst>
        <pc:spChg chg="mod">
          <ac:chgData name="Jenny Ivison" userId="767f360b-839d-47f8-9ee7-e0cff77c302f" providerId="ADAL" clId="{4890F84D-728B-40A6-A7C3-065237AA149E}" dt="2025-06-30T07:54:44.259" v="0" actId="1076"/>
          <ac:spMkLst>
            <pc:docMk/>
            <pc:sldMk cId="192850047" sldId="2134806094"/>
            <ac:spMk id="54" creationId="{84D97423-84E5-CFFB-84D4-727C47725FCF}"/>
          </ac:spMkLst>
        </pc:spChg>
      </pc:sldChg>
    </pc:docChg>
  </pc:docChgLst>
  <pc:docChgLst>
    <pc:chgData name="Mark Cross" userId="0a449463-2049-421f-8339-a05b27947ea8" providerId="ADAL" clId="{36A6B835-BA73-7141-BB9B-8115F764AB8B}"/>
    <pc:docChg chg="undo redo custSel modSld">
      <pc:chgData name="Mark Cross" userId="0a449463-2049-421f-8339-a05b27947ea8" providerId="ADAL" clId="{36A6B835-BA73-7141-BB9B-8115F764AB8B}" dt="2025-06-05T14:42:17.147" v="2125" actId="14100"/>
      <pc:docMkLst>
        <pc:docMk/>
      </pc:docMkLst>
      <pc:sldChg chg="modSp mod">
        <pc:chgData name="Mark Cross" userId="0a449463-2049-421f-8339-a05b27947ea8" providerId="ADAL" clId="{36A6B835-BA73-7141-BB9B-8115F764AB8B}" dt="2025-06-05T14:40:39.394" v="2121" actId="948"/>
        <pc:sldMkLst>
          <pc:docMk/>
          <pc:sldMk cId="10870302" sldId="2134806047"/>
        </pc:sldMkLst>
        <pc:spChg chg="mod">
          <ac:chgData name="Mark Cross" userId="0a449463-2049-421f-8339-a05b27947ea8" providerId="ADAL" clId="{36A6B835-BA73-7141-BB9B-8115F764AB8B}" dt="2025-06-04T15:18:47.457" v="42" actId="167"/>
          <ac:spMkLst>
            <pc:docMk/>
            <pc:sldMk cId="10870302" sldId="2134806047"/>
            <ac:spMk id="2" creationId="{04B47E8C-0EC3-4485-B7FF-F20E3CAFFB19}"/>
          </ac:spMkLst>
        </pc:spChg>
        <pc:spChg chg="mod">
          <ac:chgData name="Mark Cross" userId="0a449463-2049-421f-8339-a05b27947ea8" providerId="ADAL" clId="{36A6B835-BA73-7141-BB9B-8115F764AB8B}" dt="2025-06-05T14:40:39.394" v="2121" actId="948"/>
          <ac:spMkLst>
            <pc:docMk/>
            <pc:sldMk cId="10870302" sldId="2134806047"/>
            <ac:spMk id="3" creationId="{5B8BCA7C-259A-320E-269A-BE6C27CAEEDB}"/>
          </ac:spMkLst>
        </pc:spChg>
        <pc:picChg chg="mod">
          <ac:chgData name="Mark Cross" userId="0a449463-2049-421f-8339-a05b27947ea8" providerId="ADAL" clId="{36A6B835-BA73-7141-BB9B-8115F764AB8B}" dt="2025-06-04T15:18:57.144" v="43" actId="732"/>
          <ac:picMkLst>
            <pc:docMk/>
            <pc:sldMk cId="10870302" sldId="2134806047"/>
            <ac:picMk id="2050" creationId="{539341E1-D6C6-4F2B-B39A-AD79B0AB1723}"/>
          </ac:picMkLst>
        </pc:picChg>
      </pc:sldChg>
      <pc:sldChg chg="addSp delSp modSp mod">
        <pc:chgData name="Mark Cross" userId="0a449463-2049-421f-8339-a05b27947ea8" providerId="ADAL" clId="{36A6B835-BA73-7141-BB9B-8115F764AB8B}" dt="2025-06-05T14:40:19.789" v="2117" actId="1076"/>
        <pc:sldMkLst>
          <pc:docMk/>
          <pc:sldMk cId="4045559935" sldId="2134806072"/>
        </pc:sldMkLst>
        <pc:spChg chg="mod">
          <ac:chgData name="Mark Cross" userId="0a449463-2049-421f-8339-a05b27947ea8" providerId="ADAL" clId="{36A6B835-BA73-7141-BB9B-8115F764AB8B}" dt="2025-06-05T14:40:13.200" v="2116" actId="1076"/>
          <ac:spMkLst>
            <pc:docMk/>
            <pc:sldMk cId="4045559935" sldId="2134806072"/>
            <ac:spMk id="8" creationId="{AF31F27D-A071-310D-4DD5-41C06EFDE673}"/>
          </ac:spMkLst>
        </pc:spChg>
        <pc:picChg chg="add mod">
          <ac:chgData name="Mark Cross" userId="0a449463-2049-421f-8339-a05b27947ea8" providerId="ADAL" clId="{36A6B835-BA73-7141-BB9B-8115F764AB8B}" dt="2025-06-05T14:40:19.789" v="2117" actId="1076"/>
          <ac:picMkLst>
            <pc:docMk/>
            <pc:sldMk cId="4045559935" sldId="2134806072"/>
            <ac:picMk id="12" creationId="{1184BED8-A51D-DD66-7F6A-67183FDE45F4}"/>
          </ac:picMkLst>
        </pc:picChg>
        <pc:picChg chg="add mod">
          <ac:chgData name="Mark Cross" userId="0a449463-2049-421f-8339-a05b27947ea8" providerId="ADAL" clId="{36A6B835-BA73-7141-BB9B-8115F764AB8B}" dt="2025-06-05T14:40:06.931" v="2115" actId="1076"/>
          <ac:picMkLst>
            <pc:docMk/>
            <pc:sldMk cId="4045559935" sldId="2134806072"/>
            <ac:picMk id="1026" creationId="{5E7FA2B7-7ED5-3B50-9758-0B5B4427D02B}"/>
          </ac:picMkLst>
        </pc:picChg>
      </pc:sldChg>
      <pc:sldChg chg="addSp delSp modSp mod delAnim">
        <pc:chgData name="Mark Cross" userId="0a449463-2049-421f-8339-a05b27947ea8" providerId="ADAL" clId="{36A6B835-BA73-7141-BB9B-8115F764AB8B}" dt="2025-06-04T15:40:05.945" v="186" actId="18131"/>
        <pc:sldMkLst>
          <pc:docMk/>
          <pc:sldMk cId="3759399816" sldId="2134806083"/>
        </pc:sldMkLst>
        <pc:spChg chg="mod">
          <ac:chgData name="Mark Cross" userId="0a449463-2049-421f-8339-a05b27947ea8" providerId="ADAL" clId="{36A6B835-BA73-7141-BB9B-8115F764AB8B}" dt="2025-06-04T15:24:24.924" v="48" actId="113"/>
          <ac:spMkLst>
            <pc:docMk/>
            <pc:sldMk cId="3759399816" sldId="2134806083"/>
            <ac:spMk id="3" creationId="{3F364A8F-5001-4FDB-B124-0E943CDBDC1A}"/>
          </ac:spMkLst>
        </pc:spChg>
        <pc:spChg chg="add mod">
          <ac:chgData name="Mark Cross" userId="0a449463-2049-421f-8339-a05b27947ea8" providerId="ADAL" clId="{36A6B835-BA73-7141-BB9B-8115F764AB8B}" dt="2025-06-04T15:35:03.357" v="170" actId="20577"/>
          <ac:spMkLst>
            <pc:docMk/>
            <pc:sldMk cId="3759399816" sldId="2134806083"/>
            <ac:spMk id="4" creationId="{78B80F8D-FFDB-285F-C880-37BA502BDA23}"/>
          </ac:spMkLst>
        </pc:spChg>
        <pc:spChg chg="mod">
          <ac:chgData name="Mark Cross" userId="0a449463-2049-421f-8339-a05b27947ea8" providerId="ADAL" clId="{36A6B835-BA73-7141-BB9B-8115F764AB8B}" dt="2025-06-04T15:30:47.501" v="110" actId="20577"/>
          <ac:spMkLst>
            <pc:docMk/>
            <pc:sldMk cId="3759399816" sldId="2134806083"/>
            <ac:spMk id="8" creationId="{4E07DA0B-BD30-4A82-939E-DF2F81DA4653}"/>
          </ac:spMkLst>
        </pc:spChg>
        <pc:spChg chg="mod">
          <ac:chgData name="Mark Cross" userId="0a449463-2049-421f-8339-a05b27947ea8" providerId="ADAL" clId="{36A6B835-BA73-7141-BB9B-8115F764AB8B}" dt="2025-06-04T15:35:38.875" v="178" actId="1076"/>
          <ac:spMkLst>
            <pc:docMk/>
            <pc:sldMk cId="3759399816" sldId="2134806083"/>
            <ac:spMk id="15" creationId="{1BA9A1C9-5883-44F9-ABCA-7414329CAFB1}"/>
          </ac:spMkLst>
        </pc:spChg>
        <pc:spChg chg="mod">
          <ac:chgData name="Mark Cross" userId="0a449463-2049-421f-8339-a05b27947ea8" providerId="ADAL" clId="{36A6B835-BA73-7141-BB9B-8115F764AB8B}" dt="2025-06-04T15:25:45.222" v="49" actId="207"/>
          <ac:spMkLst>
            <pc:docMk/>
            <pc:sldMk cId="3759399816" sldId="2134806083"/>
            <ac:spMk id="17" creationId="{3A4CEF54-F6C4-43CD-B3AB-C91C8737682C}"/>
          </ac:spMkLst>
        </pc:spChg>
        <pc:picChg chg="mod">
          <ac:chgData name="Mark Cross" userId="0a449463-2049-421f-8339-a05b27947ea8" providerId="ADAL" clId="{36A6B835-BA73-7141-BB9B-8115F764AB8B}" dt="2025-06-04T15:40:05.945" v="186" actId="18131"/>
          <ac:picMkLst>
            <pc:docMk/>
            <pc:sldMk cId="3759399816" sldId="2134806083"/>
            <ac:picMk id="18" creationId="{F74F9D59-7874-4BA0-BD37-040C11D41F23}"/>
          </ac:picMkLst>
        </pc:picChg>
        <pc:cxnChg chg="add mod">
          <ac:chgData name="Mark Cross" userId="0a449463-2049-421f-8339-a05b27947ea8" providerId="ADAL" clId="{36A6B835-BA73-7141-BB9B-8115F764AB8B}" dt="2025-06-04T15:35:08.994" v="171" actId="1076"/>
          <ac:cxnSpMkLst>
            <pc:docMk/>
            <pc:sldMk cId="3759399816" sldId="2134806083"/>
            <ac:cxnSpMk id="7" creationId="{083C5221-21BA-9394-51D8-001796C14B6A}"/>
          </ac:cxnSpMkLst>
        </pc:cxnChg>
      </pc:sldChg>
      <pc:sldChg chg="addSp delSp modSp mod modAnim">
        <pc:chgData name="Mark Cross" userId="0a449463-2049-421f-8339-a05b27947ea8" providerId="ADAL" clId="{36A6B835-BA73-7141-BB9B-8115F764AB8B}" dt="2025-06-04T15:42:54.373" v="224" actId="14100"/>
        <pc:sldMkLst>
          <pc:docMk/>
          <pc:sldMk cId="2526233741" sldId="2134806084"/>
        </pc:sldMkLst>
        <pc:spChg chg="mod">
          <ac:chgData name="Mark Cross" userId="0a449463-2049-421f-8339-a05b27947ea8" providerId="ADAL" clId="{36A6B835-BA73-7141-BB9B-8115F764AB8B}" dt="2025-06-04T15:42:54.373" v="224" actId="14100"/>
          <ac:spMkLst>
            <pc:docMk/>
            <pc:sldMk cId="2526233741" sldId="2134806084"/>
            <ac:spMk id="5" creationId="{58A4F708-2F04-4DF7-8085-BEC55FACB8B3}"/>
          </ac:spMkLst>
        </pc:spChg>
        <pc:spChg chg="mod">
          <ac:chgData name="Mark Cross" userId="0a449463-2049-421f-8339-a05b27947ea8" providerId="ADAL" clId="{36A6B835-BA73-7141-BB9B-8115F764AB8B}" dt="2025-06-04T15:40:57.359" v="198" actId="20577"/>
          <ac:spMkLst>
            <pc:docMk/>
            <pc:sldMk cId="2526233741" sldId="2134806084"/>
            <ac:spMk id="6" creationId="{AC6F5155-7184-D149-7E90-0A996B92CF16}"/>
          </ac:spMkLst>
        </pc:spChg>
        <pc:picChg chg="add del mod">
          <ac:chgData name="Mark Cross" userId="0a449463-2049-421f-8339-a05b27947ea8" providerId="ADAL" clId="{36A6B835-BA73-7141-BB9B-8115F764AB8B}" dt="2025-06-04T15:42:36.235" v="219" actId="18131"/>
          <ac:picMkLst>
            <pc:docMk/>
            <pc:sldMk cId="2526233741" sldId="2134806084"/>
            <ac:picMk id="3076" creationId="{2FDB0C33-AD3E-4204-A3F2-D4941645CF27}"/>
          </ac:picMkLst>
        </pc:picChg>
        <pc:picChg chg="add del mod">
          <ac:chgData name="Mark Cross" userId="0a449463-2049-421f-8339-a05b27947ea8" providerId="ADAL" clId="{36A6B835-BA73-7141-BB9B-8115F764AB8B}" dt="2025-06-04T15:41:45.610" v="207" actId="1076"/>
          <ac:picMkLst>
            <pc:docMk/>
            <pc:sldMk cId="2526233741" sldId="2134806084"/>
            <ac:picMk id="3078" creationId="{912F02CC-4A26-4EBF-B021-318B74CB669D}"/>
          </ac:picMkLst>
        </pc:picChg>
        <pc:picChg chg="mod">
          <ac:chgData name="Mark Cross" userId="0a449463-2049-421f-8339-a05b27947ea8" providerId="ADAL" clId="{36A6B835-BA73-7141-BB9B-8115F764AB8B}" dt="2025-06-04T15:42:46.301" v="222" actId="1076"/>
          <ac:picMkLst>
            <pc:docMk/>
            <pc:sldMk cId="2526233741" sldId="2134806084"/>
            <ac:picMk id="3080" creationId="{3DF2AE4F-E055-46B4-AA22-48D88161D994}"/>
          </ac:picMkLst>
        </pc:picChg>
        <pc:picChg chg="mod">
          <ac:chgData name="Mark Cross" userId="0a449463-2049-421f-8339-a05b27947ea8" providerId="ADAL" clId="{36A6B835-BA73-7141-BB9B-8115F764AB8B}" dt="2025-06-04T15:42:46.301" v="222" actId="1076"/>
          <ac:picMkLst>
            <pc:docMk/>
            <pc:sldMk cId="2526233741" sldId="2134806084"/>
            <ac:picMk id="3086" creationId="{0531D44B-AF63-4E38-BA14-1C9270D3ABFF}"/>
          </ac:picMkLst>
        </pc:picChg>
      </pc:sldChg>
      <pc:sldChg chg="addSp delSp modSp mod modClrScheme chgLayout">
        <pc:chgData name="Mark Cross" userId="0a449463-2049-421f-8339-a05b27947ea8" providerId="ADAL" clId="{36A6B835-BA73-7141-BB9B-8115F764AB8B}" dt="2025-06-05T14:05:50.506" v="1286" actId="1076"/>
        <pc:sldMkLst>
          <pc:docMk/>
          <pc:sldMk cId="2645340731" sldId="2134806086"/>
        </pc:sldMkLst>
        <pc:spChg chg="mod ord">
          <ac:chgData name="Mark Cross" userId="0a449463-2049-421f-8339-a05b27947ea8" providerId="ADAL" clId="{36A6B835-BA73-7141-BB9B-8115F764AB8B}" dt="2025-06-05T14:00:38.191" v="1199" actId="14100"/>
          <ac:spMkLst>
            <pc:docMk/>
            <pc:sldMk cId="2645340731" sldId="2134806086"/>
            <ac:spMk id="3" creationId="{3F364A8F-5001-4FDB-B124-0E943CDBDC1A}"/>
          </ac:spMkLst>
        </pc:spChg>
        <pc:spChg chg="mod">
          <ac:chgData name="Mark Cross" userId="0a449463-2049-421f-8339-a05b27947ea8" providerId="ADAL" clId="{36A6B835-BA73-7141-BB9B-8115F764AB8B}" dt="2025-06-05T14:05:50.506" v="1286" actId="1076"/>
          <ac:spMkLst>
            <pc:docMk/>
            <pc:sldMk cId="2645340731" sldId="2134806086"/>
            <ac:spMk id="6" creationId="{9C9B06FD-6B1C-458A-AF70-E6ABA837382D}"/>
          </ac:spMkLst>
        </pc:spChg>
        <pc:spChg chg="mod">
          <ac:chgData name="Mark Cross" userId="0a449463-2049-421f-8339-a05b27947ea8" providerId="ADAL" clId="{36A6B835-BA73-7141-BB9B-8115F764AB8B}" dt="2025-06-05T14:05:31.876" v="1282" actId="1076"/>
          <ac:spMkLst>
            <pc:docMk/>
            <pc:sldMk cId="2645340731" sldId="2134806086"/>
            <ac:spMk id="8" creationId="{4E07DA0B-BD30-4A82-939E-DF2F81DA4653}"/>
          </ac:spMkLst>
        </pc:spChg>
        <pc:spChg chg="add mod">
          <ac:chgData name="Mark Cross" userId="0a449463-2049-421f-8339-a05b27947ea8" providerId="ADAL" clId="{36A6B835-BA73-7141-BB9B-8115F764AB8B}" dt="2025-06-05T14:05:34.120" v="1283" actId="1076"/>
          <ac:spMkLst>
            <pc:docMk/>
            <pc:sldMk cId="2645340731" sldId="2134806086"/>
            <ac:spMk id="17" creationId="{1907DBEE-2AC2-95AF-1C58-1B0B5141FFC5}"/>
          </ac:spMkLst>
        </pc:spChg>
        <pc:spChg chg="add mod">
          <ac:chgData name="Mark Cross" userId="0a449463-2049-421f-8339-a05b27947ea8" providerId="ADAL" clId="{36A6B835-BA73-7141-BB9B-8115F764AB8B}" dt="2025-06-05T14:05:05.680" v="1276" actId="1076"/>
          <ac:spMkLst>
            <pc:docMk/>
            <pc:sldMk cId="2645340731" sldId="2134806086"/>
            <ac:spMk id="18" creationId="{334738C7-CCF5-D4B2-116E-4D5F2EE7B628}"/>
          </ac:spMkLst>
        </pc:spChg>
        <pc:spChg chg="add mod">
          <ac:chgData name="Mark Cross" userId="0a449463-2049-421f-8339-a05b27947ea8" providerId="ADAL" clId="{36A6B835-BA73-7141-BB9B-8115F764AB8B}" dt="2025-06-05T14:05:26.606" v="1281" actId="1076"/>
          <ac:spMkLst>
            <pc:docMk/>
            <pc:sldMk cId="2645340731" sldId="2134806086"/>
            <ac:spMk id="20" creationId="{C270302D-B071-616F-B85E-F3883CB890EA}"/>
          </ac:spMkLst>
        </pc:spChg>
        <pc:spChg chg="add mod">
          <ac:chgData name="Mark Cross" userId="0a449463-2049-421f-8339-a05b27947ea8" providerId="ADAL" clId="{36A6B835-BA73-7141-BB9B-8115F764AB8B}" dt="2025-06-05T14:05:24.776" v="1280" actId="1076"/>
          <ac:spMkLst>
            <pc:docMk/>
            <pc:sldMk cId="2645340731" sldId="2134806086"/>
            <ac:spMk id="22" creationId="{00BCCDDB-DFB1-8032-91D0-F00C1E7605B4}"/>
          </ac:spMkLst>
        </pc:spChg>
        <pc:spChg chg="add mod">
          <ac:chgData name="Mark Cross" userId="0a449463-2049-421f-8339-a05b27947ea8" providerId="ADAL" clId="{36A6B835-BA73-7141-BB9B-8115F764AB8B}" dt="2025-06-05T14:05:22.388" v="1279" actId="1076"/>
          <ac:spMkLst>
            <pc:docMk/>
            <pc:sldMk cId="2645340731" sldId="2134806086"/>
            <ac:spMk id="25" creationId="{CCC85921-3C5C-3E38-45DF-0ADACBA4AF6E}"/>
          </ac:spMkLst>
        </pc:spChg>
        <pc:cxnChg chg="mod">
          <ac:chgData name="Mark Cross" userId="0a449463-2049-421f-8339-a05b27947ea8" providerId="ADAL" clId="{36A6B835-BA73-7141-BB9B-8115F764AB8B}" dt="2025-06-05T14:05:35.965" v="1284" actId="14100"/>
          <ac:cxnSpMkLst>
            <pc:docMk/>
            <pc:sldMk cId="2645340731" sldId="2134806086"/>
            <ac:cxnSpMk id="4" creationId="{C955113E-F0C3-44E4-BEE1-4DF715381294}"/>
          </ac:cxnSpMkLst>
        </pc:cxnChg>
        <pc:cxnChg chg="mod">
          <ac:chgData name="Mark Cross" userId="0a449463-2049-421f-8339-a05b27947ea8" providerId="ADAL" clId="{36A6B835-BA73-7141-BB9B-8115F764AB8B}" dt="2025-06-05T14:04:33.528" v="1268" actId="14100"/>
          <ac:cxnSpMkLst>
            <pc:docMk/>
            <pc:sldMk cId="2645340731" sldId="2134806086"/>
            <ac:cxnSpMk id="13" creationId="{C86458D8-7692-41AB-AEAD-06887D2B5C40}"/>
          </ac:cxnSpMkLst>
        </pc:cxnChg>
        <pc:cxnChg chg="mod">
          <ac:chgData name="Mark Cross" userId="0a449463-2049-421f-8339-a05b27947ea8" providerId="ADAL" clId="{36A6B835-BA73-7141-BB9B-8115F764AB8B}" dt="2025-06-05T14:04:53.371" v="1273" actId="14100"/>
          <ac:cxnSpMkLst>
            <pc:docMk/>
            <pc:sldMk cId="2645340731" sldId="2134806086"/>
            <ac:cxnSpMk id="21" creationId="{E39FC63F-2509-48DD-BFFF-903F6DC91F7B}"/>
          </ac:cxnSpMkLst>
        </pc:cxnChg>
        <pc:cxnChg chg="mod">
          <ac:chgData name="Mark Cross" userId="0a449463-2049-421f-8339-a05b27947ea8" providerId="ADAL" clId="{36A6B835-BA73-7141-BB9B-8115F764AB8B}" dt="2025-06-05T14:02:13.762" v="1218" actId="208"/>
          <ac:cxnSpMkLst>
            <pc:docMk/>
            <pc:sldMk cId="2645340731" sldId="2134806086"/>
            <ac:cxnSpMk id="30" creationId="{73F69DD1-B493-4E06-B192-0D560AE77BE3}"/>
          </ac:cxnSpMkLst>
        </pc:cxnChg>
        <pc:cxnChg chg="mod">
          <ac:chgData name="Mark Cross" userId="0a449463-2049-421f-8339-a05b27947ea8" providerId="ADAL" clId="{36A6B835-BA73-7141-BB9B-8115F764AB8B}" dt="2025-06-05T14:04:38.125" v="1269" actId="14100"/>
          <ac:cxnSpMkLst>
            <pc:docMk/>
            <pc:sldMk cId="2645340731" sldId="2134806086"/>
            <ac:cxnSpMk id="49" creationId="{CD84D334-EF01-47AE-AC7C-7A609C95294E}"/>
          </ac:cxnSpMkLst>
        </pc:cxnChg>
        <pc:cxnChg chg="mod">
          <ac:chgData name="Mark Cross" userId="0a449463-2049-421f-8339-a05b27947ea8" providerId="ADAL" clId="{36A6B835-BA73-7141-BB9B-8115F764AB8B}" dt="2025-06-05T14:05:08.951" v="1277" actId="14100"/>
          <ac:cxnSpMkLst>
            <pc:docMk/>
            <pc:sldMk cId="2645340731" sldId="2134806086"/>
            <ac:cxnSpMk id="52" creationId="{2A2D6977-82C7-44E0-BADF-C94C840FEE1B}"/>
          </ac:cxnSpMkLst>
        </pc:cxnChg>
      </pc:sldChg>
      <pc:sldChg chg="addSp delSp modSp mod">
        <pc:chgData name="Mark Cross" userId="0a449463-2049-421f-8339-a05b27947ea8" providerId="ADAL" clId="{36A6B835-BA73-7141-BB9B-8115F764AB8B}" dt="2025-06-05T14:06:47.334" v="1306" actId="1076"/>
        <pc:sldMkLst>
          <pc:docMk/>
          <pc:sldMk cId="3772768128" sldId="2134806087"/>
        </pc:sldMkLst>
        <pc:spChg chg="mod">
          <ac:chgData name="Mark Cross" userId="0a449463-2049-421f-8339-a05b27947ea8" providerId="ADAL" clId="{36A6B835-BA73-7141-BB9B-8115F764AB8B}" dt="2025-06-05T14:06:30.915" v="1302" actId="113"/>
          <ac:spMkLst>
            <pc:docMk/>
            <pc:sldMk cId="3772768128" sldId="2134806087"/>
            <ac:spMk id="3" creationId="{3F364A8F-5001-4FDB-B124-0E943CDBDC1A}"/>
          </ac:spMkLst>
        </pc:spChg>
        <pc:spChg chg="mod">
          <ac:chgData name="Mark Cross" userId="0a449463-2049-421f-8339-a05b27947ea8" providerId="ADAL" clId="{36A6B835-BA73-7141-BB9B-8115F764AB8B}" dt="2025-06-05T14:06:47.334" v="1306" actId="1076"/>
          <ac:spMkLst>
            <pc:docMk/>
            <pc:sldMk cId="3772768128" sldId="2134806087"/>
            <ac:spMk id="8" creationId="{4E07DA0B-BD30-4A82-939E-DF2F81DA4653}"/>
          </ac:spMkLst>
        </pc:spChg>
        <pc:picChg chg="mod">
          <ac:chgData name="Mark Cross" userId="0a449463-2049-421f-8339-a05b27947ea8" providerId="ADAL" clId="{36A6B835-BA73-7141-BB9B-8115F764AB8B}" dt="2025-06-05T14:06:28.432" v="1301" actId="1076"/>
          <ac:picMkLst>
            <pc:docMk/>
            <pc:sldMk cId="3772768128" sldId="2134806087"/>
            <ac:picMk id="9" creationId="{CF087145-1DCE-4C8F-B6F9-A5DEE1FFAEEF}"/>
          </ac:picMkLst>
        </pc:picChg>
        <pc:picChg chg="mod">
          <ac:chgData name="Mark Cross" userId="0a449463-2049-421f-8339-a05b27947ea8" providerId="ADAL" clId="{36A6B835-BA73-7141-BB9B-8115F764AB8B}" dt="2025-06-05T14:06:28.432" v="1301" actId="1076"/>
          <ac:picMkLst>
            <pc:docMk/>
            <pc:sldMk cId="3772768128" sldId="2134806087"/>
            <ac:picMk id="10" creationId="{852EC575-2789-4687-8564-854974D992FA}"/>
          </ac:picMkLst>
        </pc:picChg>
        <pc:picChg chg="mod">
          <ac:chgData name="Mark Cross" userId="0a449463-2049-421f-8339-a05b27947ea8" providerId="ADAL" clId="{36A6B835-BA73-7141-BB9B-8115F764AB8B}" dt="2025-06-05T14:06:28.432" v="1301" actId="1076"/>
          <ac:picMkLst>
            <pc:docMk/>
            <pc:sldMk cId="3772768128" sldId="2134806087"/>
            <ac:picMk id="7170" creationId="{D25B61DA-6972-40AE-A4A7-16AF0778A3FA}"/>
          </ac:picMkLst>
        </pc:picChg>
        <pc:picChg chg="mod">
          <ac:chgData name="Mark Cross" userId="0a449463-2049-421f-8339-a05b27947ea8" providerId="ADAL" clId="{36A6B835-BA73-7141-BB9B-8115F764AB8B}" dt="2025-06-05T14:06:28.432" v="1301" actId="1076"/>
          <ac:picMkLst>
            <pc:docMk/>
            <pc:sldMk cId="3772768128" sldId="2134806087"/>
            <ac:picMk id="7172" creationId="{0C77DC38-7AE8-4DFA-9853-B624921FB454}"/>
          </ac:picMkLst>
        </pc:picChg>
      </pc:sldChg>
      <pc:sldChg chg="addSp delSp modSp mod">
        <pc:chgData name="Mark Cross" userId="0a449463-2049-421f-8339-a05b27947ea8" providerId="ADAL" clId="{36A6B835-BA73-7141-BB9B-8115F764AB8B}" dt="2025-06-05T14:08:39.349" v="1336" actId="20577"/>
        <pc:sldMkLst>
          <pc:docMk/>
          <pc:sldMk cId="3556849713" sldId="2134806088"/>
        </pc:sldMkLst>
        <pc:spChg chg="add del mod">
          <ac:chgData name="Mark Cross" userId="0a449463-2049-421f-8339-a05b27947ea8" providerId="ADAL" clId="{36A6B835-BA73-7141-BB9B-8115F764AB8B}" dt="2025-06-05T14:08:35.337" v="1335" actId="14100"/>
          <ac:spMkLst>
            <pc:docMk/>
            <pc:sldMk cId="3556849713" sldId="2134806088"/>
            <ac:spMk id="3" creationId="{3F364A8F-5001-4FDB-B124-0E943CDBDC1A}"/>
          </ac:spMkLst>
        </pc:spChg>
        <pc:spChg chg="mod">
          <ac:chgData name="Mark Cross" userId="0a449463-2049-421f-8339-a05b27947ea8" providerId="ADAL" clId="{36A6B835-BA73-7141-BB9B-8115F764AB8B}" dt="2025-06-05T14:08:39.349" v="1336" actId="20577"/>
          <ac:spMkLst>
            <pc:docMk/>
            <pc:sldMk cId="3556849713" sldId="2134806088"/>
            <ac:spMk id="8" creationId="{4E07DA0B-BD30-4A82-939E-DF2F81DA4653}"/>
          </ac:spMkLst>
        </pc:spChg>
        <pc:picChg chg="add mod modCrop">
          <ac:chgData name="Mark Cross" userId="0a449463-2049-421f-8339-a05b27947ea8" providerId="ADAL" clId="{36A6B835-BA73-7141-BB9B-8115F764AB8B}" dt="2025-06-05T14:08:17.088" v="1330" actId="18131"/>
          <ac:picMkLst>
            <pc:docMk/>
            <pc:sldMk cId="3556849713" sldId="2134806088"/>
            <ac:picMk id="6" creationId="{291FFFF0-997F-7CE2-480E-8EE453F73105}"/>
          </ac:picMkLst>
        </pc:picChg>
      </pc:sldChg>
      <pc:sldChg chg="delSp modSp mod">
        <pc:chgData name="Mark Cross" userId="0a449463-2049-421f-8339-a05b27947ea8" providerId="ADAL" clId="{36A6B835-BA73-7141-BB9B-8115F764AB8B}" dt="2025-06-05T14:16:28.721" v="1482" actId="1076"/>
        <pc:sldMkLst>
          <pc:docMk/>
          <pc:sldMk cId="3898422604" sldId="2134806089"/>
        </pc:sldMkLst>
        <pc:spChg chg="mod">
          <ac:chgData name="Mark Cross" userId="0a449463-2049-421f-8339-a05b27947ea8" providerId="ADAL" clId="{36A6B835-BA73-7141-BB9B-8115F764AB8B}" dt="2025-06-05T14:16:26.367" v="1481" actId="113"/>
          <ac:spMkLst>
            <pc:docMk/>
            <pc:sldMk cId="3898422604" sldId="2134806089"/>
            <ac:spMk id="3" creationId="{3F364A8F-5001-4FDB-B124-0E943CDBDC1A}"/>
          </ac:spMkLst>
        </pc:spChg>
        <pc:picChg chg="mod">
          <ac:chgData name="Mark Cross" userId="0a449463-2049-421f-8339-a05b27947ea8" providerId="ADAL" clId="{36A6B835-BA73-7141-BB9B-8115F764AB8B}" dt="2025-06-05T14:16:28.721" v="1482" actId="1076"/>
          <ac:picMkLst>
            <pc:docMk/>
            <pc:sldMk cId="3898422604" sldId="2134806089"/>
            <ac:picMk id="10" creationId="{50A84C94-1EE9-4ADC-B85A-A97F4C547E57}"/>
          </ac:picMkLst>
        </pc:picChg>
      </pc:sldChg>
      <pc:sldChg chg="addSp delSp modSp mod">
        <pc:chgData name="Mark Cross" userId="0a449463-2049-421f-8339-a05b27947ea8" providerId="ADAL" clId="{36A6B835-BA73-7141-BB9B-8115F764AB8B}" dt="2025-06-05T14:15:46.569" v="1476" actId="14100"/>
        <pc:sldMkLst>
          <pc:docMk/>
          <pc:sldMk cId="3230672679" sldId="2134806090"/>
        </pc:sldMkLst>
        <pc:spChg chg="add mod">
          <ac:chgData name="Mark Cross" userId="0a449463-2049-421f-8339-a05b27947ea8" providerId="ADAL" clId="{36A6B835-BA73-7141-BB9B-8115F764AB8B}" dt="2025-06-05T14:15:44.770" v="1475" actId="14100"/>
          <ac:spMkLst>
            <pc:docMk/>
            <pc:sldMk cId="3230672679" sldId="2134806090"/>
            <ac:spMk id="2" creationId="{7BB66DC6-14F5-23D6-FF07-98A76CC55F6D}"/>
          </ac:spMkLst>
        </pc:spChg>
        <pc:spChg chg="mod">
          <ac:chgData name="Mark Cross" userId="0a449463-2049-421f-8339-a05b27947ea8" providerId="ADAL" clId="{36A6B835-BA73-7141-BB9B-8115F764AB8B}" dt="2025-06-05T14:08:53.958" v="1337" actId="113"/>
          <ac:spMkLst>
            <pc:docMk/>
            <pc:sldMk cId="3230672679" sldId="2134806090"/>
            <ac:spMk id="3" creationId="{3F364A8F-5001-4FDB-B124-0E943CDBDC1A}"/>
          </ac:spMkLst>
        </pc:spChg>
        <pc:spChg chg="add mod">
          <ac:chgData name="Mark Cross" userId="0a449463-2049-421f-8339-a05b27947ea8" providerId="ADAL" clId="{36A6B835-BA73-7141-BB9B-8115F764AB8B}" dt="2025-06-05T14:15:42.914" v="1474" actId="14100"/>
          <ac:spMkLst>
            <pc:docMk/>
            <pc:sldMk cId="3230672679" sldId="2134806090"/>
            <ac:spMk id="4" creationId="{09FE2E84-924D-662F-681D-98C17BAAD6E5}"/>
          </ac:spMkLst>
        </pc:spChg>
        <pc:spChg chg="add mod">
          <ac:chgData name="Mark Cross" userId="0a449463-2049-421f-8339-a05b27947ea8" providerId="ADAL" clId="{36A6B835-BA73-7141-BB9B-8115F764AB8B}" dt="2025-06-05T14:15:38.462" v="1473" actId="14100"/>
          <ac:spMkLst>
            <pc:docMk/>
            <pc:sldMk cId="3230672679" sldId="2134806090"/>
            <ac:spMk id="5" creationId="{315ACF6C-361B-C686-EA09-C9073067BA9D}"/>
          </ac:spMkLst>
        </pc:spChg>
        <pc:spChg chg="mod">
          <ac:chgData name="Mark Cross" userId="0a449463-2049-421f-8339-a05b27947ea8" providerId="ADAL" clId="{36A6B835-BA73-7141-BB9B-8115F764AB8B}" dt="2025-06-05T14:15:33.517" v="1471" actId="2711"/>
          <ac:spMkLst>
            <pc:docMk/>
            <pc:sldMk cId="3230672679" sldId="2134806090"/>
            <ac:spMk id="7" creationId="{A68E20D4-AAE4-467D-A99A-1D6929D63630}"/>
          </ac:spMkLst>
        </pc:spChg>
        <pc:spChg chg="mod">
          <ac:chgData name="Mark Cross" userId="0a449463-2049-421f-8339-a05b27947ea8" providerId="ADAL" clId="{36A6B835-BA73-7141-BB9B-8115F764AB8B}" dt="2025-06-05T14:15:33.517" v="1471" actId="2711"/>
          <ac:spMkLst>
            <pc:docMk/>
            <pc:sldMk cId="3230672679" sldId="2134806090"/>
            <ac:spMk id="8" creationId="{4E07DA0B-BD30-4A82-939E-DF2F81DA4653}"/>
          </ac:spMkLst>
        </pc:spChg>
        <pc:spChg chg="mod">
          <ac:chgData name="Mark Cross" userId="0a449463-2049-421f-8339-a05b27947ea8" providerId="ADAL" clId="{36A6B835-BA73-7141-BB9B-8115F764AB8B}" dt="2025-06-05T14:15:36.719" v="1472" actId="14100"/>
          <ac:spMkLst>
            <pc:docMk/>
            <pc:sldMk cId="3230672679" sldId="2134806090"/>
            <ac:spMk id="9" creationId="{B5D9B108-3639-4B38-AEBB-32582D577E44}"/>
          </ac:spMkLst>
        </pc:spChg>
        <pc:spChg chg="mod">
          <ac:chgData name="Mark Cross" userId="0a449463-2049-421f-8339-a05b27947ea8" providerId="ADAL" clId="{36A6B835-BA73-7141-BB9B-8115F764AB8B}" dt="2025-06-05T14:15:33.517" v="1471" actId="2711"/>
          <ac:spMkLst>
            <pc:docMk/>
            <pc:sldMk cId="3230672679" sldId="2134806090"/>
            <ac:spMk id="10" creationId="{7BA313BE-5043-4C75-AD80-A00F95DCE445}"/>
          </ac:spMkLst>
        </pc:spChg>
        <pc:spChg chg="mod">
          <ac:chgData name="Mark Cross" userId="0a449463-2049-421f-8339-a05b27947ea8" providerId="ADAL" clId="{36A6B835-BA73-7141-BB9B-8115F764AB8B}" dt="2025-06-05T14:15:33.517" v="1471" actId="2711"/>
          <ac:spMkLst>
            <pc:docMk/>
            <pc:sldMk cId="3230672679" sldId="2134806090"/>
            <ac:spMk id="11" creationId="{2ECD324B-9FBD-4549-9EC3-F1077E7F37C4}"/>
          </ac:spMkLst>
        </pc:spChg>
        <pc:spChg chg="add mod">
          <ac:chgData name="Mark Cross" userId="0a449463-2049-421f-8339-a05b27947ea8" providerId="ADAL" clId="{36A6B835-BA73-7141-BB9B-8115F764AB8B}" dt="2025-06-05T14:15:46.569" v="1476" actId="14100"/>
          <ac:spMkLst>
            <pc:docMk/>
            <pc:sldMk cId="3230672679" sldId="2134806090"/>
            <ac:spMk id="15" creationId="{FE845F6E-CE08-84D9-71D5-D6D085D97ED3}"/>
          </ac:spMkLst>
        </pc:spChg>
        <pc:picChg chg="add mod modCrop">
          <ac:chgData name="Mark Cross" userId="0a449463-2049-421f-8339-a05b27947ea8" providerId="ADAL" clId="{36A6B835-BA73-7141-BB9B-8115F764AB8B}" dt="2025-06-05T14:15:18.354" v="1470" actId="18131"/>
          <ac:picMkLst>
            <pc:docMk/>
            <pc:sldMk cId="3230672679" sldId="2134806090"/>
            <ac:picMk id="16" creationId="{9DA5897E-4DCD-D17B-535D-D3609B9BDEBE}"/>
          </ac:picMkLst>
        </pc:picChg>
        <pc:cxnChg chg="add mod">
          <ac:chgData name="Mark Cross" userId="0a449463-2049-421f-8339-a05b27947ea8" providerId="ADAL" clId="{36A6B835-BA73-7141-BB9B-8115F764AB8B}" dt="2025-06-05T14:15:11.055" v="1468" actId="14100"/>
          <ac:cxnSpMkLst>
            <pc:docMk/>
            <pc:sldMk cId="3230672679" sldId="2134806090"/>
            <ac:cxnSpMk id="12" creationId="{68D55288-6486-3636-A5E5-27E741C96614}"/>
          </ac:cxnSpMkLst>
        </pc:cxnChg>
      </pc:sldChg>
      <pc:sldChg chg="addSp delSp modSp mod">
        <pc:chgData name="Mark Cross" userId="0a449463-2049-421f-8339-a05b27947ea8" providerId="ADAL" clId="{36A6B835-BA73-7141-BB9B-8115F764AB8B}" dt="2025-06-05T14:18:42.985" v="1523" actId="113"/>
        <pc:sldMkLst>
          <pc:docMk/>
          <pc:sldMk cId="1797583437" sldId="2134806091"/>
        </pc:sldMkLst>
        <pc:spChg chg="add del mod">
          <ac:chgData name="Mark Cross" userId="0a449463-2049-421f-8339-a05b27947ea8" providerId="ADAL" clId="{36A6B835-BA73-7141-BB9B-8115F764AB8B}" dt="2025-06-05T14:18:08.289" v="1514" actId="14100"/>
          <ac:spMkLst>
            <pc:docMk/>
            <pc:sldMk cId="1797583437" sldId="2134806091"/>
            <ac:spMk id="2" creationId="{83E37F64-9412-49F9-BF68-3A3FAEA54098}"/>
          </ac:spMkLst>
        </pc:spChg>
        <pc:spChg chg="mod">
          <ac:chgData name="Mark Cross" userId="0a449463-2049-421f-8339-a05b27947ea8" providerId="ADAL" clId="{36A6B835-BA73-7141-BB9B-8115F764AB8B}" dt="2025-06-05T14:18:42.985" v="1523" actId="113"/>
          <ac:spMkLst>
            <pc:docMk/>
            <pc:sldMk cId="1797583437" sldId="2134806091"/>
            <ac:spMk id="3" creationId="{3F364A8F-5001-4FDB-B124-0E943CDBDC1A}"/>
          </ac:spMkLst>
        </pc:spChg>
        <pc:spChg chg="mod">
          <ac:chgData name="Mark Cross" userId="0a449463-2049-421f-8339-a05b27947ea8" providerId="ADAL" clId="{36A6B835-BA73-7141-BB9B-8115F764AB8B}" dt="2025-06-05T14:18:38.584" v="1521" actId="1076"/>
          <ac:spMkLst>
            <pc:docMk/>
            <pc:sldMk cId="1797583437" sldId="2134806091"/>
            <ac:spMk id="8" creationId="{4E07DA0B-BD30-4A82-939E-DF2F81DA4653}"/>
          </ac:spMkLst>
        </pc:spChg>
        <pc:picChg chg="mod">
          <ac:chgData name="Mark Cross" userId="0a449463-2049-421f-8339-a05b27947ea8" providerId="ADAL" clId="{36A6B835-BA73-7141-BB9B-8115F764AB8B}" dt="2025-06-05T14:18:22.816" v="1517" actId="18131"/>
          <ac:picMkLst>
            <pc:docMk/>
            <pc:sldMk cId="1797583437" sldId="2134806091"/>
            <ac:picMk id="10242" creationId="{28789250-CCB7-434D-BD98-3FD0943E4DD9}"/>
          </ac:picMkLst>
        </pc:picChg>
      </pc:sldChg>
      <pc:sldChg chg="addSp delSp modSp mod">
        <pc:chgData name="Mark Cross" userId="0a449463-2049-421f-8339-a05b27947ea8" providerId="ADAL" clId="{36A6B835-BA73-7141-BB9B-8115F764AB8B}" dt="2025-06-05T14:42:17.147" v="2125" actId="14100"/>
        <pc:sldMkLst>
          <pc:docMk/>
          <pc:sldMk cId="2744730804" sldId="2134806092"/>
        </pc:sldMkLst>
        <pc:spChg chg="mod">
          <ac:chgData name="Mark Cross" userId="0a449463-2049-421f-8339-a05b27947ea8" providerId="ADAL" clId="{36A6B835-BA73-7141-BB9B-8115F764AB8B}" dt="2025-06-05T14:21:54.943" v="1998" actId="113"/>
          <ac:spMkLst>
            <pc:docMk/>
            <pc:sldMk cId="2744730804" sldId="2134806092"/>
            <ac:spMk id="3" creationId="{3F364A8F-5001-4FDB-B124-0E943CDBDC1A}"/>
          </ac:spMkLst>
        </pc:spChg>
        <pc:spChg chg="add mod">
          <ac:chgData name="Mark Cross" userId="0a449463-2049-421f-8339-a05b27947ea8" providerId="ADAL" clId="{36A6B835-BA73-7141-BB9B-8115F764AB8B}" dt="2025-06-05T14:42:08.981" v="2123" actId="1076"/>
          <ac:spMkLst>
            <pc:docMk/>
            <pc:sldMk cId="2744730804" sldId="2134806092"/>
            <ac:spMk id="4" creationId="{5A63F481-F141-1D48-CFFE-55DAD00A9E96}"/>
          </ac:spMkLst>
        </pc:spChg>
        <pc:spChg chg="mod">
          <ac:chgData name="Mark Cross" userId="0a449463-2049-421f-8339-a05b27947ea8" providerId="ADAL" clId="{36A6B835-BA73-7141-BB9B-8115F764AB8B}" dt="2025-06-05T14:42:17.147" v="2125" actId="14100"/>
          <ac:spMkLst>
            <pc:docMk/>
            <pc:sldMk cId="2744730804" sldId="2134806092"/>
            <ac:spMk id="5" creationId="{72E2BAF4-C1AD-45BB-AB3C-2A0B05BB8280}"/>
          </ac:spMkLst>
        </pc:spChg>
        <pc:spChg chg="mod">
          <ac:chgData name="Mark Cross" userId="0a449463-2049-421f-8339-a05b27947ea8" providerId="ADAL" clId="{36A6B835-BA73-7141-BB9B-8115F764AB8B}" dt="2025-06-05T14:42:14.032" v="2124" actId="14100"/>
          <ac:spMkLst>
            <pc:docMk/>
            <pc:sldMk cId="2744730804" sldId="2134806092"/>
            <ac:spMk id="8" creationId="{4E07DA0B-BD30-4A82-939E-DF2F81DA4653}"/>
          </ac:spMkLst>
        </pc:spChg>
        <pc:picChg chg="mod">
          <ac:chgData name="Mark Cross" userId="0a449463-2049-421f-8339-a05b27947ea8" providerId="ADAL" clId="{36A6B835-BA73-7141-BB9B-8115F764AB8B}" dt="2025-06-05T14:42:06.994" v="2122" actId="1076"/>
          <ac:picMkLst>
            <pc:docMk/>
            <pc:sldMk cId="2744730804" sldId="2134806092"/>
            <ac:picMk id="11268" creationId="{3F2D6927-6C90-4093-85F2-AA44F0930184}"/>
          </ac:picMkLst>
        </pc:picChg>
      </pc:sldChg>
      <pc:sldChg chg="addSp delSp modSp mod">
        <pc:chgData name="Mark Cross" userId="0a449463-2049-421f-8339-a05b27947ea8" providerId="ADAL" clId="{36A6B835-BA73-7141-BB9B-8115F764AB8B}" dt="2025-06-05T14:26:25.537" v="2080" actId="20577"/>
        <pc:sldMkLst>
          <pc:docMk/>
          <pc:sldMk cId="2058851664" sldId="2134806093"/>
        </pc:sldMkLst>
        <pc:spChg chg="mod">
          <ac:chgData name="Mark Cross" userId="0a449463-2049-421f-8339-a05b27947ea8" providerId="ADAL" clId="{36A6B835-BA73-7141-BB9B-8115F764AB8B}" dt="2025-06-05T14:24:37.087" v="2045" actId="114"/>
          <ac:spMkLst>
            <pc:docMk/>
            <pc:sldMk cId="2058851664" sldId="2134806093"/>
            <ac:spMk id="3" creationId="{3F364A8F-5001-4FDB-B124-0E943CDBDC1A}"/>
          </ac:spMkLst>
        </pc:spChg>
        <pc:spChg chg="add del mod">
          <ac:chgData name="Mark Cross" userId="0a449463-2049-421f-8339-a05b27947ea8" providerId="ADAL" clId="{36A6B835-BA73-7141-BB9B-8115F764AB8B}" dt="2025-06-05T14:26:25.537" v="2080" actId="20577"/>
          <ac:spMkLst>
            <pc:docMk/>
            <pc:sldMk cId="2058851664" sldId="2134806093"/>
            <ac:spMk id="8" creationId="{4E07DA0B-BD30-4A82-939E-DF2F81DA4653}"/>
          </ac:spMkLst>
        </pc:spChg>
        <pc:picChg chg="add mod modCrop">
          <ac:chgData name="Mark Cross" userId="0a449463-2049-421f-8339-a05b27947ea8" providerId="ADAL" clId="{36A6B835-BA73-7141-BB9B-8115F764AB8B}" dt="2025-06-05T14:26:17.647" v="2077" actId="732"/>
          <ac:picMkLst>
            <pc:docMk/>
            <pc:sldMk cId="2058851664" sldId="2134806093"/>
            <ac:picMk id="6" creationId="{9A14645B-1016-7352-BAB5-3C78520B5EF8}"/>
          </ac:picMkLst>
        </pc:picChg>
      </pc:sldChg>
      <pc:sldChg chg="addSp delSp modSp mod">
        <pc:chgData name="Mark Cross" userId="0a449463-2049-421f-8339-a05b27947ea8" providerId="ADAL" clId="{36A6B835-BA73-7141-BB9B-8115F764AB8B}" dt="2025-06-05T12:31:45.665" v="819" actId="478"/>
        <pc:sldMkLst>
          <pc:docMk/>
          <pc:sldMk cId="192850047" sldId="2134806094"/>
        </pc:sldMkLst>
        <pc:spChg chg="mod">
          <ac:chgData name="Mark Cross" userId="0a449463-2049-421f-8339-a05b27947ea8" providerId="ADAL" clId="{36A6B835-BA73-7141-BB9B-8115F764AB8B}" dt="2025-06-05T12:31:41.065" v="817" actId="1076"/>
          <ac:spMkLst>
            <pc:docMk/>
            <pc:sldMk cId="192850047" sldId="2134806094"/>
            <ac:spMk id="8" creationId="{A0B7AF3B-5E64-4D74-9E0D-A711ABD55214}"/>
          </ac:spMkLst>
        </pc:spChg>
        <pc:spChg chg="add mod">
          <ac:chgData name="Mark Cross" userId="0a449463-2049-421f-8339-a05b27947ea8" providerId="ADAL" clId="{36A6B835-BA73-7141-BB9B-8115F764AB8B}" dt="2025-06-05T11:59:50.616" v="579" actId="255"/>
          <ac:spMkLst>
            <pc:docMk/>
            <pc:sldMk cId="192850047" sldId="2134806094"/>
            <ac:spMk id="30" creationId="{B5E5410D-2B33-46F4-8ED2-09676F4E1ED4}"/>
          </ac:spMkLst>
        </pc:spChg>
        <pc:spChg chg="add mod">
          <ac:chgData name="Mark Cross" userId="0a449463-2049-421f-8339-a05b27947ea8" providerId="ADAL" clId="{36A6B835-BA73-7141-BB9B-8115F764AB8B}" dt="2025-06-05T12:02:30.856" v="623" actId="1076"/>
          <ac:spMkLst>
            <pc:docMk/>
            <pc:sldMk cId="192850047" sldId="2134806094"/>
            <ac:spMk id="31" creationId="{1F64DD21-DD7B-AE43-DA07-C176093BB6B6}"/>
          </ac:spMkLst>
        </pc:spChg>
        <pc:spChg chg="add mod">
          <ac:chgData name="Mark Cross" userId="0a449463-2049-421f-8339-a05b27947ea8" providerId="ADAL" clId="{36A6B835-BA73-7141-BB9B-8115F764AB8B}" dt="2025-06-05T12:02:35.332" v="624" actId="1076"/>
          <ac:spMkLst>
            <pc:docMk/>
            <pc:sldMk cId="192850047" sldId="2134806094"/>
            <ac:spMk id="32" creationId="{384B84BB-2D4C-93B1-423D-BF08D9C33D47}"/>
          </ac:spMkLst>
        </pc:spChg>
        <pc:spChg chg="add mod">
          <ac:chgData name="Mark Cross" userId="0a449463-2049-421f-8339-a05b27947ea8" providerId="ADAL" clId="{36A6B835-BA73-7141-BB9B-8115F764AB8B}" dt="2025-06-05T12:02:38.137" v="625" actId="1076"/>
          <ac:spMkLst>
            <pc:docMk/>
            <pc:sldMk cId="192850047" sldId="2134806094"/>
            <ac:spMk id="33" creationId="{420B6C1B-3C53-0B37-FEA2-90A1D3FDF3B9}"/>
          </ac:spMkLst>
        </pc:spChg>
        <pc:spChg chg="add mod">
          <ac:chgData name="Mark Cross" userId="0a449463-2049-421f-8339-a05b27947ea8" providerId="ADAL" clId="{36A6B835-BA73-7141-BB9B-8115F764AB8B}" dt="2025-06-05T11:59:50.616" v="579" actId="255"/>
          <ac:spMkLst>
            <pc:docMk/>
            <pc:sldMk cId="192850047" sldId="2134806094"/>
            <ac:spMk id="34" creationId="{12821F12-22F7-8B03-D139-C1C1FEF7008A}"/>
          </ac:spMkLst>
        </pc:spChg>
        <pc:spChg chg="add mod">
          <ac:chgData name="Mark Cross" userId="0a449463-2049-421f-8339-a05b27947ea8" providerId="ADAL" clId="{36A6B835-BA73-7141-BB9B-8115F764AB8B}" dt="2025-06-05T12:02:30.856" v="623" actId="1076"/>
          <ac:spMkLst>
            <pc:docMk/>
            <pc:sldMk cId="192850047" sldId="2134806094"/>
            <ac:spMk id="35" creationId="{5E72CF84-EA3B-63B1-7DDD-C96F752EB6EC}"/>
          </ac:spMkLst>
        </pc:spChg>
        <pc:spChg chg="add mod">
          <ac:chgData name="Mark Cross" userId="0a449463-2049-421f-8339-a05b27947ea8" providerId="ADAL" clId="{36A6B835-BA73-7141-BB9B-8115F764AB8B}" dt="2025-06-05T12:02:35.332" v="624" actId="1076"/>
          <ac:spMkLst>
            <pc:docMk/>
            <pc:sldMk cId="192850047" sldId="2134806094"/>
            <ac:spMk id="36" creationId="{342C3B3F-9B61-F608-F12B-D823166B9B8C}"/>
          </ac:spMkLst>
        </pc:spChg>
        <pc:spChg chg="add mod">
          <ac:chgData name="Mark Cross" userId="0a449463-2049-421f-8339-a05b27947ea8" providerId="ADAL" clId="{36A6B835-BA73-7141-BB9B-8115F764AB8B}" dt="2025-06-05T12:02:38.137" v="625" actId="1076"/>
          <ac:spMkLst>
            <pc:docMk/>
            <pc:sldMk cId="192850047" sldId="2134806094"/>
            <ac:spMk id="37" creationId="{16B23AA8-5447-3C14-4D58-D98945A9DB73}"/>
          </ac:spMkLst>
        </pc:spChg>
        <pc:spChg chg="add mod">
          <ac:chgData name="Mark Cross" userId="0a449463-2049-421f-8339-a05b27947ea8" providerId="ADAL" clId="{36A6B835-BA73-7141-BB9B-8115F764AB8B}" dt="2025-06-05T12:28:23.611" v="657" actId="1076"/>
          <ac:spMkLst>
            <pc:docMk/>
            <pc:sldMk cId="192850047" sldId="2134806094"/>
            <ac:spMk id="45" creationId="{83A9DFB0-685E-82B7-493C-26DF35C07996}"/>
          </ac:spMkLst>
        </pc:spChg>
        <pc:spChg chg="add mod">
          <ac:chgData name="Mark Cross" userId="0a449463-2049-421f-8339-a05b27947ea8" providerId="ADAL" clId="{36A6B835-BA73-7141-BB9B-8115F764AB8B}" dt="2025-06-05T12:31:26.805" v="812" actId="1076"/>
          <ac:spMkLst>
            <pc:docMk/>
            <pc:sldMk cId="192850047" sldId="2134806094"/>
            <ac:spMk id="46" creationId="{E96D9B0D-D6E6-EC59-154F-27290BA56E9C}"/>
          </ac:spMkLst>
        </pc:spChg>
        <pc:spChg chg="add mod">
          <ac:chgData name="Mark Cross" userId="0a449463-2049-421f-8339-a05b27947ea8" providerId="ADAL" clId="{36A6B835-BA73-7141-BB9B-8115F764AB8B}" dt="2025-06-05T12:29:30.902" v="708" actId="20577"/>
          <ac:spMkLst>
            <pc:docMk/>
            <pc:sldMk cId="192850047" sldId="2134806094"/>
            <ac:spMk id="48" creationId="{AEEED9C2-B33A-0838-0A63-81CD8482B023}"/>
          </ac:spMkLst>
        </pc:spChg>
        <pc:spChg chg="add mod">
          <ac:chgData name="Mark Cross" userId="0a449463-2049-421f-8339-a05b27947ea8" providerId="ADAL" clId="{36A6B835-BA73-7141-BB9B-8115F764AB8B}" dt="2025-06-05T12:31:29.110" v="813" actId="1076"/>
          <ac:spMkLst>
            <pc:docMk/>
            <pc:sldMk cId="192850047" sldId="2134806094"/>
            <ac:spMk id="51" creationId="{3C37288E-E3F4-5111-B277-408D7F52700C}"/>
          </ac:spMkLst>
        </pc:spChg>
        <pc:spChg chg="add mod">
          <ac:chgData name="Mark Cross" userId="0a449463-2049-421f-8339-a05b27947ea8" providerId="ADAL" clId="{36A6B835-BA73-7141-BB9B-8115F764AB8B}" dt="2025-06-05T12:31:31.201" v="814" actId="1076"/>
          <ac:spMkLst>
            <pc:docMk/>
            <pc:sldMk cId="192850047" sldId="2134806094"/>
            <ac:spMk id="52" creationId="{84B61406-BFFE-7929-A65B-1B79086F6123}"/>
          </ac:spMkLst>
        </pc:spChg>
        <pc:spChg chg="add mod">
          <ac:chgData name="Mark Cross" userId="0a449463-2049-421f-8339-a05b27947ea8" providerId="ADAL" clId="{36A6B835-BA73-7141-BB9B-8115F764AB8B}" dt="2025-06-05T12:31:33.518" v="815" actId="1076"/>
          <ac:spMkLst>
            <pc:docMk/>
            <pc:sldMk cId="192850047" sldId="2134806094"/>
            <ac:spMk id="53" creationId="{47CA5304-C908-B27F-1B9D-E75F1B56A747}"/>
          </ac:spMkLst>
        </pc:spChg>
        <pc:spChg chg="add mod">
          <ac:chgData name="Mark Cross" userId="0a449463-2049-421f-8339-a05b27947ea8" providerId="ADAL" clId="{36A6B835-BA73-7141-BB9B-8115F764AB8B}" dt="2025-06-05T12:31:35.866" v="816" actId="1076"/>
          <ac:spMkLst>
            <pc:docMk/>
            <pc:sldMk cId="192850047" sldId="2134806094"/>
            <ac:spMk id="54" creationId="{84D97423-84E5-CFFB-84D4-727C47725FCF}"/>
          </ac:spMkLst>
        </pc:spChg>
        <pc:spChg chg="add mod">
          <ac:chgData name="Mark Cross" userId="0a449463-2049-421f-8339-a05b27947ea8" providerId="ADAL" clId="{36A6B835-BA73-7141-BB9B-8115F764AB8B}" dt="2025-06-05T12:30:40.060" v="804" actId="1076"/>
          <ac:spMkLst>
            <pc:docMk/>
            <pc:sldMk cId="192850047" sldId="2134806094"/>
            <ac:spMk id="55" creationId="{BC5FE55D-C11C-577E-AF0B-48810F5CC295}"/>
          </ac:spMkLst>
        </pc:spChg>
        <pc:picChg chg="add mod">
          <ac:chgData name="Mark Cross" userId="0a449463-2049-421f-8339-a05b27947ea8" providerId="ADAL" clId="{36A6B835-BA73-7141-BB9B-8115F764AB8B}" dt="2025-06-05T12:02:35.332" v="624" actId="1076"/>
          <ac:picMkLst>
            <pc:docMk/>
            <pc:sldMk cId="192850047" sldId="2134806094"/>
            <ac:picMk id="10" creationId="{514C221F-6272-B6D4-CCC8-53D3FA0E5C30}"/>
          </ac:picMkLst>
        </pc:picChg>
        <pc:picChg chg="add mod">
          <ac:chgData name="Mark Cross" userId="0a449463-2049-421f-8339-a05b27947ea8" providerId="ADAL" clId="{36A6B835-BA73-7141-BB9B-8115F764AB8B}" dt="2025-06-05T12:00:51.662" v="601" actId="1076"/>
          <ac:picMkLst>
            <pc:docMk/>
            <pc:sldMk cId="192850047" sldId="2134806094"/>
            <ac:picMk id="14" creationId="{F87A7574-A372-A574-386F-7D129EE7565B}"/>
          </ac:picMkLst>
        </pc:picChg>
        <pc:picChg chg="add mod">
          <ac:chgData name="Mark Cross" userId="0a449463-2049-421f-8339-a05b27947ea8" providerId="ADAL" clId="{36A6B835-BA73-7141-BB9B-8115F764AB8B}" dt="2025-06-05T12:02:38.137" v="625" actId="1076"/>
          <ac:picMkLst>
            <pc:docMk/>
            <pc:sldMk cId="192850047" sldId="2134806094"/>
            <ac:picMk id="19" creationId="{5CB1E59D-4176-C099-181A-2CB2B9B0E067}"/>
          </ac:picMkLst>
        </pc:picChg>
        <pc:picChg chg="add mod">
          <ac:chgData name="Mark Cross" userId="0a449463-2049-421f-8339-a05b27947ea8" providerId="ADAL" clId="{36A6B835-BA73-7141-BB9B-8115F764AB8B}" dt="2025-06-05T12:00:31.773" v="590" actId="1076"/>
          <ac:picMkLst>
            <pc:docMk/>
            <pc:sldMk cId="192850047" sldId="2134806094"/>
            <ac:picMk id="21" creationId="{9EDA4E82-EFBC-1CBC-9E91-1D95E7D06A31}"/>
          </ac:picMkLst>
        </pc:picChg>
        <pc:picChg chg="add mod">
          <ac:chgData name="Mark Cross" userId="0a449463-2049-421f-8339-a05b27947ea8" providerId="ADAL" clId="{36A6B835-BA73-7141-BB9B-8115F764AB8B}" dt="2025-06-05T12:02:30.856" v="623" actId="1076"/>
          <ac:picMkLst>
            <pc:docMk/>
            <pc:sldMk cId="192850047" sldId="2134806094"/>
            <ac:picMk id="23" creationId="{A0BD679F-0C66-772C-4695-969DABBA7BE7}"/>
          </ac:picMkLst>
        </pc:picChg>
        <pc:picChg chg="add mod">
          <ac:chgData name="Mark Cross" userId="0a449463-2049-421f-8339-a05b27947ea8" providerId="ADAL" clId="{36A6B835-BA73-7141-BB9B-8115F764AB8B}" dt="2025-06-05T12:02:38.137" v="625" actId="1076"/>
          <ac:picMkLst>
            <pc:docMk/>
            <pc:sldMk cId="192850047" sldId="2134806094"/>
            <ac:picMk id="25" creationId="{7B683DCD-7E34-78E9-7D37-75BA13F97709}"/>
          </ac:picMkLst>
        </pc:picChg>
        <pc:picChg chg="add mod">
          <ac:chgData name="Mark Cross" userId="0a449463-2049-421f-8339-a05b27947ea8" providerId="ADAL" clId="{36A6B835-BA73-7141-BB9B-8115F764AB8B}" dt="2025-06-05T12:02:30.856" v="623" actId="1076"/>
          <ac:picMkLst>
            <pc:docMk/>
            <pc:sldMk cId="192850047" sldId="2134806094"/>
            <ac:picMk id="27" creationId="{48EDD306-C896-33B1-8A5D-09C4CA2F2596}"/>
          </ac:picMkLst>
        </pc:picChg>
        <pc:picChg chg="add mod">
          <ac:chgData name="Mark Cross" userId="0a449463-2049-421f-8339-a05b27947ea8" providerId="ADAL" clId="{36A6B835-BA73-7141-BB9B-8115F764AB8B}" dt="2025-06-05T12:02:35.332" v="624" actId="1076"/>
          <ac:picMkLst>
            <pc:docMk/>
            <pc:sldMk cId="192850047" sldId="2134806094"/>
            <ac:picMk id="29" creationId="{15F8CAAC-0399-E610-16FC-0369B0D9FAE1}"/>
          </ac:picMkLst>
        </pc:picChg>
        <pc:picChg chg="add mod">
          <ac:chgData name="Mark Cross" userId="0a449463-2049-421f-8339-a05b27947ea8" providerId="ADAL" clId="{36A6B835-BA73-7141-BB9B-8115F764AB8B}" dt="2025-06-05T12:31:24.548" v="811" actId="1076"/>
          <ac:picMkLst>
            <pc:docMk/>
            <pc:sldMk cId="192850047" sldId="2134806094"/>
            <ac:picMk id="57" creationId="{F12C284B-F50F-2DA6-B73E-3044145349BB}"/>
          </ac:picMkLst>
        </pc:picChg>
        <pc:cxnChg chg="add mod">
          <ac:chgData name="Mark Cross" userId="0a449463-2049-421f-8339-a05b27947ea8" providerId="ADAL" clId="{36A6B835-BA73-7141-BB9B-8115F764AB8B}" dt="2025-06-05T12:31:43.134" v="818" actId="1076"/>
          <ac:cxnSpMkLst>
            <pc:docMk/>
            <pc:sldMk cId="192850047" sldId="2134806094"/>
            <ac:cxnSpMk id="39" creationId="{AFF62C00-6F34-C649-C613-134DA5440EB8}"/>
          </ac:cxnSpMkLst>
        </pc:cxnChg>
      </pc:sldChg>
      <pc:sldChg chg="addSp delSp modSp mod">
        <pc:chgData name="Mark Cross" userId="0a449463-2049-421f-8339-a05b27947ea8" providerId="ADAL" clId="{36A6B835-BA73-7141-BB9B-8115F764AB8B}" dt="2025-06-05T13:59:36.130" v="1195" actId="1076"/>
        <pc:sldMkLst>
          <pc:docMk/>
          <pc:sldMk cId="1569338660" sldId="2134806095"/>
        </pc:sldMkLst>
        <pc:spChg chg="mod">
          <ac:chgData name="Mark Cross" userId="0a449463-2049-421f-8339-a05b27947ea8" providerId="ADAL" clId="{36A6B835-BA73-7141-BB9B-8115F764AB8B}" dt="2025-06-04T15:24:14.020" v="46" actId="113"/>
          <ac:spMkLst>
            <pc:docMk/>
            <pc:sldMk cId="1569338660" sldId="2134806095"/>
            <ac:spMk id="6" creationId="{AC6F5155-7184-D149-7E90-0A996B92CF16}"/>
          </ac:spMkLst>
        </pc:spChg>
        <pc:spChg chg="add mod">
          <ac:chgData name="Mark Cross" userId="0a449463-2049-421f-8339-a05b27947ea8" providerId="ADAL" clId="{36A6B835-BA73-7141-BB9B-8115F764AB8B}" dt="2025-06-05T13:20:46.026" v="974" actId="1076"/>
          <ac:spMkLst>
            <pc:docMk/>
            <pc:sldMk cId="1569338660" sldId="2134806095"/>
            <ac:spMk id="8" creationId="{9ECF81A5-43BD-6EFE-602D-ACBAF004F9C0}"/>
          </ac:spMkLst>
        </pc:spChg>
        <pc:spChg chg="add mod">
          <ac:chgData name="Mark Cross" userId="0a449463-2049-421f-8339-a05b27947ea8" providerId="ADAL" clId="{36A6B835-BA73-7141-BB9B-8115F764AB8B}" dt="2025-06-05T13:19:26.773" v="886" actId="20577"/>
          <ac:spMkLst>
            <pc:docMk/>
            <pc:sldMk cId="1569338660" sldId="2134806095"/>
            <ac:spMk id="9" creationId="{8A968CC2-F1CE-D047-2F93-64FD282CB5FB}"/>
          </ac:spMkLst>
        </pc:spChg>
        <pc:spChg chg="add mod">
          <ac:chgData name="Mark Cross" userId="0a449463-2049-421f-8339-a05b27947ea8" providerId="ADAL" clId="{36A6B835-BA73-7141-BB9B-8115F764AB8B}" dt="2025-06-05T13:20:27.563" v="967" actId="1076"/>
          <ac:spMkLst>
            <pc:docMk/>
            <pc:sldMk cId="1569338660" sldId="2134806095"/>
            <ac:spMk id="10" creationId="{D7791ACF-816B-D487-3499-CFF2E1612E0A}"/>
          </ac:spMkLst>
        </pc:spChg>
        <pc:spChg chg="add mod">
          <ac:chgData name="Mark Cross" userId="0a449463-2049-421f-8339-a05b27947ea8" providerId="ADAL" clId="{36A6B835-BA73-7141-BB9B-8115F764AB8B}" dt="2025-06-05T13:19:45.268" v="924" actId="20577"/>
          <ac:spMkLst>
            <pc:docMk/>
            <pc:sldMk cId="1569338660" sldId="2134806095"/>
            <ac:spMk id="11" creationId="{1C1AFB3F-AA9E-C579-CD5E-3E002787FC59}"/>
          </ac:spMkLst>
        </pc:spChg>
        <pc:spChg chg="add mod">
          <ac:chgData name="Mark Cross" userId="0a449463-2049-421f-8339-a05b27947ea8" providerId="ADAL" clId="{36A6B835-BA73-7141-BB9B-8115F764AB8B}" dt="2025-06-05T13:19:51.541" v="940" actId="20577"/>
          <ac:spMkLst>
            <pc:docMk/>
            <pc:sldMk cId="1569338660" sldId="2134806095"/>
            <ac:spMk id="13" creationId="{F472A59F-31AB-8CDA-6047-8AB91A5538F8}"/>
          </ac:spMkLst>
        </pc:spChg>
        <pc:spChg chg="mod">
          <ac:chgData name="Mark Cross" userId="0a449463-2049-421f-8339-a05b27947ea8" providerId="ADAL" clId="{36A6B835-BA73-7141-BB9B-8115F764AB8B}" dt="2025-06-04T15:43:14.127" v="227" actId="1076"/>
          <ac:spMkLst>
            <pc:docMk/>
            <pc:sldMk cId="1569338660" sldId="2134806095"/>
            <ac:spMk id="15" creationId="{E9838949-5203-4369-B451-05803326365B}"/>
          </ac:spMkLst>
        </pc:spChg>
        <pc:spChg chg="mod">
          <ac:chgData name="Mark Cross" userId="0a449463-2049-421f-8339-a05b27947ea8" providerId="ADAL" clId="{36A6B835-BA73-7141-BB9B-8115F764AB8B}" dt="2025-06-04T15:43:14.127" v="227" actId="1076"/>
          <ac:spMkLst>
            <pc:docMk/>
            <pc:sldMk cId="1569338660" sldId="2134806095"/>
            <ac:spMk id="16" creationId="{7D14F616-9D4C-45AC-B03F-1319A1B389B9}"/>
          </ac:spMkLst>
        </pc:spChg>
        <pc:spChg chg="add mod">
          <ac:chgData name="Mark Cross" userId="0a449463-2049-421f-8339-a05b27947ea8" providerId="ADAL" clId="{36A6B835-BA73-7141-BB9B-8115F764AB8B}" dt="2025-06-05T13:20:22.529" v="966" actId="1076"/>
          <ac:spMkLst>
            <pc:docMk/>
            <pc:sldMk cId="1569338660" sldId="2134806095"/>
            <ac:spMk id="18" creationId="{90572F9F-F7AB-DD2B-30F4-CB926A87CF09}"/>
          </ac:spMkLst>
        </pc:spChg>
        <pc:spChg chg="add mod">
          <ac:chgData name="Mark Cross" userId="0a449463-2049-421f-8339-a05b27947ea8" providerId="ADAL" clId="{36A6B835-BA73-7141-BB9B-8115F764AB8B}" dt="2025-06-05T13:20:39.603" v="972" actId="14100"/>
          <ac:spMkLst>
            <pc:docMk/>
            <pc:sldMk cId="1569338660" sldId="2134806095"/>
            <ac:spMk id="19" creationId="{2CC34483-6A79-1421-EE11-07EDD276A754}"/>
          </ac:spMkLst>
        </pc:spChg>
        <pc:spChg chg="add mod">
          <ac:chgData name="Mark Cross" userId="0a449463-2049-421f-8339-a05b27947ea8" providerId="ADAL" clId="{36A6B835-BA73-7141-BB9B-8115F764AB8B}" dt="2025-06-05T13:20:14.957" v="964" actId="20577"/>
          <ac:spMkLst>
            <pc:docMk/>
            <pc:sldMk cId="1569338660" sldId="2134806095"/>
            <ac:spMk id="20" creationId="{017E48F2-07C5-03F1-F88A-AB2824AC2451}"/>
          </ac:spMkLst>
        </pc:spChg>
        <pc:spChg chg="add mod">
          <ac:chgData name="Mark Cross" userId="0a449463-2049-421f-8339-a05b27947ea8" providerId="ADAL" clId="{36A6B835-BA73-7141-BB9B-8115F764AB8B}" dt="2025-06-05T13:59:25.634" v="1191" actId="1076"/>
          <ac:spMkLst>
            <pc:docMk/>
            <pc:sldMk cId="1569338660" sldId="2134806095"/>
            <ac:spMk id="37" creationId="{72C73201-DA2F-7305-6879-0918E413453F}"/>
          </ac:spMkLst>
        </pc:spChg>
        <pc:spChg chg="add mod">
          <ac:chgData name="Mark Cross" userId="0a449463-2049-421f-8339-a05b27947ea8" providerId="ADAL" clId="{36A6B835-BA73-7141-BB9B-8115F764AB8B}" dt="2025-06-05T13:59:25.634" v="1191" actId="1076"/>
          <ac:spMkLst>
            <pc:docMk/>
            <pc:sldMk cId="1569338660" sldId="2134806095"/>
            <ac:spMk id="38" creationId="{1E4F7367-3EE7-2E55-893E-719F7800C412}"/>
          </ac:spMkLst>
        </pc:spChg>
        <pc:spChg chg="add mod">
          <ac:chgData name="Mark Cross" userId="0a449463-2049-421f-8339-a05b27947ea8" providerId="ADAL" clId="{36A6B835-BA73-7141-BB9B-8115F764AB8B}" dt="2025-06-05T13:59:31.034" v="1193" actId="1076"/>
          <ac:spMkLst>
            <pc:docMk/>
            <pc:sldMk cId="1569338660" sldId="2134806095"/>
            <ac:spMk id="39" creationId="{7ACCA992-15B0-D1B6-BC7A-A73E0D830C89}"/>
          </ac:spMkLst>
        </pc:spChg>
        <pc:spChg chg="add mod">
          <ac:chgData name="Mark Cross" userId="0a449463-2049-421f-8339-a05b27947ea8" providerId="ADAL" clId="{36A6B835-BA73-7141-BB9B-8115F764AB8B}" dt="2025-06-05T13:59:33.096" v="1194" actId="1076"/>
          <ac:spMkLst>
            <pc:docMk/>
            <pc:sldMk cId="1569338660" sldId="2134806095"/>
            <ac:spMk id="40" creationId="{2B8AADC2-0E27-AF73-435C-068BD26E91E0}"/>
          </ac:spMkLst>
        </pc:spChg>
        <pc:spChg chg="add mod">
          <ac:chgData name="Mark Cross" userId="0a449463-2049-421f-8339-a05b27947ea8" providerId="ADAL" clId="{36A6B835-BA73-7141-BB9B-8115F764AB8B}" dt="2025-06-05T13:58:32.006" v="1125" actId="20577"/>
          <ac:spMkLst>
            <pc:docMk/>
            <pc:sldMk cId="1569338660" sldId="2134806095"/>
            <ac:spMk id="41" creationId="{639725A4-0668-510F-A700-2171A4AA66DB}"/>
          </ac:spMkLst>
        </pc:spChg>
        <pc:spChg chg="add mod">
          <ac:chgData name="Mark Cross" userId="0a449463-2049-421f-8339-a05b27947ea8" providerId="ADAL" clId="{36A6B835-BA73-7141-BB9B-8115F764AB8B}" dt="2025-06-05T13:59:19.982" v="1190" actId="1076"/>
          <ac:spMkLst>
            <pc:docMk/>
            <pc:sldMk cId="1569338660" sldId="2134806095"/>
            <ac:spMk id="42" creationId="{0D027813-5073-579C-1790-A6BCC6A9298D}"/>
          </ac:spMkLst>
        </pc:spChg>
        <pc:spChg chg="add mod">
          <ac:chgData name="Mark Cross" userId="0a449463-2049-421f-8339-a05b27947ea8" providerId="ADAL" clId="{36A6B835-BA73-7141-BB9B-8115F764AB8B}" dt="2025-06-05T13:58:49.235" v="1156" actId="20577"/>
          <ac:spMkLst>
            <pc:docMk/>
            <pc:sldMk cId="1569338660" sldId="2134806095"/>
            <ac:spMk id="43" creationId="{5A91C429-D62B-11CF-A047-8788B34C7316}"/>
          </ac:spMkLst>
        </pc:spChg>
        <pc:spChg chg="add mod">
          <ac:chgData name="Mark Cross" userId="0a449463-2049-421f-8339-a05b27947ea8" providerId="ADAL" clId="{36A6B835-BA73-7141-BB9B-8115F764AB8B}" dt="2025-06-05T13:59:07.762" v="1186" actId="14100"/>
          <ac:spMkLst>
            <pc:docMk/>
            <pc:sldMk cId="1569338660" sldId="2134806095"/>
            <ac:spMk id="44" creationId="{B30A2E3A-E2D3-6992-3532-90332438FFC9}"/>
          </ac:spMkLst>
        </pc:spChg>
        <pc:picChg chg="add del mod">
          <ac:chgData name="Mark Cross" userId="0a449463-2049-421f-8339-a05b27947ea8" providerId="ADAL" clId="{36A6B835-BA73-7141-BB9B-8115F764AB8B}" dt="2025-06-05T13:56:16.481" v="994" actId="1076"/>
          <ac:picMkLst>
            <pc:docMk/>
            <pc:sldMk cId="1569338660" sldId="2134806095"/>
            <ac:picMk id="4" creationId="{DB8BF248-368B-92F6-0D98-79E951827CBB}"/>
          </ac:picMkLst>
        </pc:picChg>
        <pc:picChg chg="add mod">
          <ac:chgData name="Mark Cross" userId="0a449463-2049-421f-8339-a05b27947ea8" providerId="ADAL" clId="{36A6B835-BA73-7141-BB9B-8115F764AB8B}" dt="2025-06-05T13:59:25.634" v="1191" actId="1076"/>
          <ac:picMkLst>
            <pc:docMk/>
            <pc:sldMk cId="1569338660" sldId="2134806095"/>
            <ac:picMk id="22" creationId="{B67D8883-747B-0E9D-252A-D653C39C1798}"/>
          </ac:picMkLst>
        </pc:picChg>
        <pc:picChg chg="add mod">
          <ac:chgData name="Mark Cross" userId="0a449463-2049-421f-8339-a05b27947ea8" providerId="ADAL" clId="{36A6B835-BA73-7141-BB9B-8115F764AB8B}" dt="2025-06-05T13:57:36.418" v="1021" actId="1076"/>
          <ac:picMkLst>
            <pc:docMk/>
            <pc:sldMk cId="1569338660" sldId="2134806095"/>
            <ac:picMk id="24" creationId="{63C999E8-0365-07A5-52FF-A613583BFC83}"/>
          </ac:picMkLst>
        </pc:picChg>
        <pc:picChg chg="add mod">
          <ac:chgData name="Mark Cross" userId="0a449463-2049-421f-8339-a05b27947ea8" providerId="ADAL" clId="{36A6B835-BA73-7141-BB9B-8115F764AB8B}" dt="2025-06-05T13:57:10.132" v="1018" actId="14100"/>
          <ac:picMkLst>
            <pc:docMk/>
            <pc:sldMk cId="1569338660" sldId="2134806095"/>
            <ac:picMk id="26" creationId="{D66AFA7C-D718-D931-9D49-4F971367220C}"/>
          </ac:picMkLst>
        </pc:picChg>
        <pc:picChg chg="add mod">
          <ac:chgData name="Mark Cross" userId="0a449463-2049-421f-8339-a05b27947ea8" providerId="ADAL" clId="{36A6B835-BA73-7141-BB9B-8115F764AB8B}" dt="2025-06-05T13:59:19.982" v="1190" actId="1076"/>
          <ac:picMkLst>
            <pc:docMk/>
            <pc:sldMk cId="1569338660" sldId="2134806095"/>
            <ac:picMk id="28" creationId="{373F65F7-8349-215F-6F41-E685AFC6A02C}"/>
          </ac:picMkLst>
        </pc:picChg>
        <pc:picChg chg="add mod">
          <ac:chgData name="Mark Cross" userId="0a449463-2049-421f-8339-a05b27947ea8" providerId="ADAL" clId="{36A6B835-BA73-7141-BB9B-8115F764AB8B}" dt="2025-06-05T13:57:40.882" v="1023" actId="1076"/>
          <ac:picMkLst>
            <pc:docMk/>
            <pc:sldMk cId="1569338660" sldId="2134806095"/>
            <ac:picMk id="30" creationId="{AAE7BADD-0984-D8DD-6B5F-BF3C1B2AD55D}"/>
          </ac:picMkLst>
        </pc:picChg>
        <pc:picChg chg="add mod">
          <ac:chgData name="Mark Cross" userId="0a449463-2049-421f-8339-a05b27947ea8" providerId="ADAL" clId="{36A6B835-BA73-7141-BB9B-8115F764AB8B}" dt="2025-06-05T13:59:33.096" v="1194" actId="1076"/>
          <ac:picMkLst>
            <pc:docMk/>
            <pc:sldMk cId="1569338660" sldId="2134806095"/>
            <ac:picMk id="32" creationId="{AEEA36BD-ACEE-6E44-40C9-B8C9963AC641}"/>
          </ac:picMkLst>
        </pc:picChg>
        <pc:picChg chg="add mod">
          <ac:chgData name="Mark Cross" userId="0a449463-2049-421f-8339-a05b27947ea8" providerId="ADAL" clId="{36A6B835-BA73-7141-BB9B-8115F764AB8B}" dt="2025-06-05T13:59:25.634" v="1191" actId="1076"/>
          <ac:picMkLst>
            <pc:docMk/>
            <pc:sldMk cId="1569338660" sldId="2134806095"/>
            <ac:picMk id="34" creationId="{1742B9B5-12EA-6CAA-C277-6E97576FD2CE}"/>
          </ac:picMkLst>
        </pc:picChg>
        <pc:picChg chg="add mod">
          <ac:chgData name="Mark Cross" userId="0a449463-2049-421f-8339-a05b27947ea8" providerId="ADAL" clId="{36A6B835-BA73-7141-BB9B-8115F764AB8B}" dt="2025-06-05T13:59:25.634" v="1191" actId="1076"/>
          <ac:picMkLst>
            <pc:docMk/>
            <pc:sldMk cId="1569338660" sldId="2134806095"/>
            <ac:picMk id="36" creationId="{690047D2-4BDE-1356-2B36-7F78D3485330}"/>
          </ac:picMkLst>
        </pc:picChg>
        <pc:cxnChg chg="add mod">
          <ac:chgData name="Mark Cross" userId="0a449463-2049-421f-8339-a05b27947ea8" providerId="ADAL" clId="{36A6B835-BA73-7141-BB9B-8115F764AB8B}" dt="2025-06-05T13:59:36.130" v="1195" actId="1076"/>
          <ac:cxnSpMkLst>
            <pc:docMk/>
            <pc:sldMk cId="1569338660" sldId="2134806095"/>
            <ac:cxnSpMk id="5" creationId="{91FFF680-597F-84B1-7674-56515987A897}"/>
          </ac:cxnSpMkLst>
        </pc:cxnChg>
      </pc:sldChg>
    </pc:docChg>
  </pc:docChgLst>
  <pc:docChgLst>
    <pc:chgData name="Suzanne Strathern" userId="76213b13-8a7d-4f8b-83fb-91be79e57b57" providerId="ADAL" clId="{97AE4E80-B5C8-40D6-A81B-F50ECF1F0719}"/>
    <pc:docChg chg="modSld">
      <pc:chgData name="Suzanne Strathern" userId="76213b13-8a7d-4f8b-83fb-91be79e57b57" providerId="ADAL" clId="{97AE4E80-B5C8-40D6-A81B-F50ECF1F0719}" dt="2025-04-22T08:32:18.169" v="2" actId="255"/>
      <pc:docMkLst>
        <pc:docMk/>
      </pc:docMkLst>
      <pc:sldChg chg="modSp mod">
        <pc:chgData name="Suzanne Strathern" userId="76213b13-8a7d-4f8b-83fb-91be79e57b57" providerId="ADAL" clId="{97AE4E80-B5C8-40D6-A81B-F50ECF1F0719}" dt="2025-04-22T08:32:18.169" v="2" actId="255"/>
        <pc:sldMkLst>
          <pc:docMk/>
          <pc:sldMk cId="2526233741" sldId="2134806084"/>
        </pc:sldMkLst>
      </pc:sldChg>
      <pc:sldChg chg="modSp mod">
        <pc:chgData name="Suzanne Strathern" userId="76213b13-8a7d-4f8b-83fb-91be79e57b57" providerId="ADAL" clId="{97AE4E80-B5C8-40D6-A81B-F50ECF1F0719}" dt="2025-04-22T08:31:52.268" v="1" actId="255"/>
        <pc:sldMkLst>
          <pc:docMk/>
          <pc:sldMk cId="2645340731" sldId="2134806086"/>
        </pc:sldMkLst>
      </pc:sldChg>
    </pc:docChg>
  </pc:docChgLst>
  <pc:docChgLst>
    <pc:chgData name="Emma Morris" userId="70c6f1a6-3d9c-40dc-abd7-ac4fa70f9b1e" providerId="ADAL" clId="{3EB54E3B-49FA-F94B-9FD4-8C4046C6FEA1}"/>
    <pc:docChg chg="undo custSel modSld">
      <pc:chgData name="Emma Morris" userId="70c6f1a6-3d9c-40dc-abd7-ac4fa70f9b1e" providerId="ADAL" clId="{3EB54E3B-49FA-F94B-9FD4-8C4046C6FEA1}" dt="2025-06-23T08:22:47.910" v="106" actId="167"/>
      <pc:docMkLst>
        <pc:docMk/>
      </pc:docMkLst>
      <pc:sldChg chg="addSp modSp mod">
        <pc:chgData name="Emma Morris" userId="70c6f1a6-3d9c-40dc-abd7-ac4fa70f9b1e" providerId="ADAL" clId="{3EB54E3B-49FA-F94B-9FD4-8C4046C6FEA1}" dt="2025-06-17T14:13:45.403" v="74" actId="207"/>
        <pc:sldMkLst>
          <pc:docMk/>
          <pc:sldMk cId="1277872877" sldId="263"/>
        </pc:sldMkLst>
        <pc:picChg chg="add mod">
          <ac:chgData name="Emma Morris" userId="70c6f1a6-3d9c-40dc-abd7-ac4fa70f9b1e" providerId="ADAL" clId="{3EB54E3B-49FA-F94B-9FD4-8C4046C6FEA1}" dt="2025-06-17T14:13:45.403" v="74" actId="207"/>
          <ac:picMkLst>
            <pc:docMk/>
            <pc:sldMk cId="1277872877" sldId="263"/>
            <ac:picMk id="3" creationId="{BCFEA2D0-BC92-3339-341B-DBBBFA353986}"/>
          </ac:picMkLst>
        </pc:picChg>
      </pc:sldChg>
      <pc:sldChg chg="addSp delSp modSp mod chgLayout">
        <pc:chgData name="Emma Morris" userId="70c6f1a6-3d9c-40dc-abd7-ac4fa70f9b1e" providerId="ADAL" clId="{3EB54E3B-49FA-F94B-9FD4-8C4046C6FEA1}" dt="2025-06-17T14:13:22.717" v="61" actId="478"/>
        <pc:sldMkLst>
          <pc:docMk/>
          <pc:sldMk cId="10870302" sldId="2134806047"/>
        </pc:sldMkLst>
        <pc:spChg chg="mod">
          <ac:chgData name="Emma Morris" userId="70c6f1a6-3d9c-40dc-abd7-ac4fa70f9b1e" providerId="ADAL" clId="{3EB54E3B-49FA-F94B-9FD4-8C4046C6FEA1}" dt="2025-06-17T14:13:16.432" v="56" actId="1076"/>
          <ac:spMkLst>
            <pc:docMk/>
            <pc:sldMk cId="10870302" sldId="2134806047"/>
            <ac:spMk id="2" creationId="{04B47E8C-0EC3-4485-B7FF-F20E3CAFFB19}"/>
          </ac:spMkLst>
        </pc:spChg>
        <pc:spChg chg="add mod ord">
          <ac:chgData name="Emma Morris" userId="70c6f1a6-3d9c-40dc-abd7-ac4fa70f9b1e" providerId="ADAL" clId="{3EB54E3B-49FA-F94B-9FD4-8C4046C6FEA1}" dt="2025-06-04T13:49:22.540" v="9" actId="14100"/>
          <ac:spMkLst>
            <pc:docMk/>
            <pc:sldMk cId="10870302" sldId="2134806047"/>
            <ac:spMk id="3" creationId="{5B8BCA7C-259A-320E-269A-BE6C27CAEEDB}"/>
          </ac:spMkLst>
        </pc:spChg>
        <pc:spChg chg="mod ord">
          <ac:chgData name="Emma Morris" userId="70c6f1a6-3d9c-40dc-abd7-ac4fa70f9b1e" providerId="ADAL" clId="{3EB54E3B-49FA-F94B-9FD4-8C4046C6FEA1}" dt="2025-06-04T13:49:07.392" v="4" actId="113"/>
          <ac:spMkLst>
            <pc:docMk/>
            <pc:sldMk cId="10870302" sldId="2134806047"/>
            <ac:spMk id="6" creationId="{AC6F5155-7184-D149-7E90-0A996B92CF16}"/>
          </ac:spMkLst>
        </pc:spChg>
        <pc:picChg chg="add mod">
          <ac:chgData name="Emma Morris" userId="70c6f1a6-3d9c-40dc-abd7-ac4fa70f9b1e" providerId="ADAL" clId="{3EB54E3B-49FA-F94B-9FD4-8C4046C6FEA1}" dt="2025-06-17T14:13:21.089" v="59" actId="1076"/>
          <ac:picMkLst>
            <pc:docMk/>
            <pc:sldMk cId="10870302" sldId="2134806047"/>
            <ac:picMk id="5" creationId="{378B4F20-0E24-5A69-9C01-505E866781B7}"/>
          </ac:picMkLst>
        </pc:picChg>
        <pc:picChg chg="mod">
          <ac:chgData name="Emma Morris" userId="70c6f1a6-3d9c-40dc-abd7-ac4fa70f9b1e" providerId="ADAL" clId="{3EB54E3B-49FA-F94B-9FD4-8C4046C6FEA1}" dt="2025-06-04T13:49:43.305" v="20" actId="1076"/>
          <ac:picMkLst>
            <pc:docMk/>
            <pc:sldMk cId="10870302" sldId="2134806047"/>
            <ac:picMk id="2050" creationId="{539341E1-D6C6-4F2B-B39A-AD79B0AB1723}"/>
          </ac:picMkLst>
        </pc:picChg>
      </pc:sldChg>
      <pc:sldChg chg="addSp delSp modSp mod">
        <pc:chgData name="Emma Morris" userId="70c6f1a6-3d9c-40dc-abd7-ac4fa70f9b1e" providerId="ADAL" clId="{3EB54E3B-49FA-F94B-9FD4-8C4046C6FEA1}" dt="2025-06-23T08:22:47.910" v="106" actId="167"/>
        <pc:sldMkLst>
          <pc:docMk/>
          <pc:sldMk cId="4045559935" sldId="2134806072"/>
        </pc:sldMkLst>
        <pc:picChg chg="add mod">
          <ac:chgData name="Emma Morris" userId="70c6f1a6-3d9c-40dc-abd7-ac4fa70f9b1e" providerId="ADAL" clId="{3EB54E3B-49FA-F94B-9FD4-8C4046C6FEA1}" dt="2025-06-23T08:22:47.910" v="106" actId="167"/>
          <ac:picMkLst>
            <pc:docMk/>
            <pc:sldMk cId="4045559935" sldId="2134806072"/>
            <ac:picMk id="2" creationId="{D5202DE8-FB47-B04C-8136-45B38116565E}"/>
          </ac:picMkLst>
        </pc:picChg>
        <pc:picChg chg="add mod">
          <ac:chgData name="Emma Morris" userId="70c6f1a6-3d9c-40dc-abd7-ac4fa70f9b1e" providerId="ADAL" clId="{3EB54E3B-49FA-F94B-9FD4-8C4046C6FEA1}" dt="2025-06-17T14:12:46.982" v="47" actId="1076"/>
          <ac:picMkLst>
            <pc:docMk/>
            <pc:sldMk cId="4045559935" sldId="2134806072"/>
            <ac:picMk id="4" creationId="{3C97A5A8-A134-B086-931C-EB79E4034FE5}"/>
          </ac:picMkLst>
        </pc:picChg>
        <pc:picChg chg="mod">
          <ac:chgData name="Emma Morris" userId="70c6f1a6-3d9c-40dc-abd7-ac4fa70f9b1e" providerId="ADAL" clId="{3EB54E3B-49FA-F94B-9FD4-8C4046C6FEA1}" dt="2025-06-23T08:22:42.435" v="104" actId="167"/>
          <ac:picMkLst>
            <pc:docMk/>
            <pc:sldMk cId="4045559935" sldId="2134806072"/>
            <ac:picMk id="5" creationId="{240BB6E0-3E2D-07EC-E422-648628C03375}"/>
          </ac:picMkLst>
        </pc:picChg>
        <pc:picChg chg="add mod">
          <ac:chgData name="Emma Morris" userId="70c6f1a6-3d9c-40dc-abd7-ac4fa70f9b1e" providerId="ADAL" clId="{3EB54E3B-49FA-F94B-9FD4-8C4046C6FEA1}" dt="2025-06-17T14:12:55.731" v="50" actId="14100"/>
          <ac:picMkLst>
            <pc:docMk/>
            <pc:sldMk cId="4045559935" sldId="2134806072"/>
            <ac:picMk id="11" creationId="{7DA44437-BEDE-99A4-9A3B-53E71CF64A02}"/>
          </ac:picMkLst>
        </pc:picChg>
        <pc:picChg chg="mod">
          <ac:chgData name="Emma Morris" userId="70c6f1a6-3d9c-40dc-abd7-ac4fa70f9b1e" providerId="ADAL" clId="{3EB54E3B-49FA-F94B-9FD4-8C4046C6FEA1}" dt="2025-06-17T14:12:57.066" v="51" actId="1076"/>
          <ac:picMkLst>
            <pc:docMk/>
            <pc:sldMk cId="4045559935" sldId="2134806072"/>
            <ac:picMk id="12" creationId="{1184BED8-A51D-DD66-7F6A-67183FDE45F4}"/>
          </ac:picMkLst>
        </pc:picChg>
        <pc:picChg chg="mod">
          <ac:chgData name="Emma Morris" userId="70c6f1a6-3d9c-40dc-abd7-ac4fa70f9b1e" providerId="ADAL" clId="{3EB54E3B-49FA-F94B-9FD4-8C4046C6FEA1}" dt="2025-06-17T14:12:53.564" v="49" actId="1076"/>
          <ac:picMkLst>
            <pc:docMk/>
            <pc:sldMk cId="4045559935" sldId="2134806072"/>
            <ac:picMk id="1026" creationId="{5E7FA2B7-7ED5-3B50-9758-0B5B4427D02B}"/>
          </ac:picMkLst>
        </pc:picChg>
      </pc:sldChg>
      <pc:sldChg chg="addSp modSp">
        <pc:chgData name="Emma Morris" userId="70c6f1a6-3d9c-40dc-abd7-ac4fa70f9b1e" providerId="ADAL" clId="{3EB54E3B-49FA-F94B-9FD4-8C4046C6FEA1}" dt="2025-06-17T14:14:48.659" v="84" actId="207"/>
        <pc:sldMkLst>
          <pc:docMk/>
          <pc:sldMk cId="3759399816" sldId="2134806083"/>
        </pc:sldMkLst>
        <pc:spChg chg="mod">
          <ac:chgData name="Emma Morris" userId="70c6f1a6-3d9c-40dc-abd7-ac4fa70f9b1e" providerId="ADAL" clId="{3EB54E3B-49FA-F94B-9FD4-8C4046C6FEA1}" dt="2025-06-17T14:14:48.659" v="84" actId="207"/>
          <ac:spMkLst>
            <pc:docMk/>
            <pc:sldMk cId="3759399816" sldId="2134806083"/>
            <ac:spMk id="4" creationId="{78B80F8D-FFDB-285F-C880-37BA502BDA23}"/>
          </ac:spMkLst>
        </pc:spChg>
        <pc:spChg chg="mod">
          <ac:chgData name="Emma Morris" userId="70c6f1a6-3d9c-40dc-abd7-ac4fa70f9b1e" providerId="ADAL" clId="{3EB54E3B-49FA-F94B-9FD4-8C4046C6FEA1}" dt="2025-06-17T14:14:48.659" v="84" actId="207"/>
          <ac:spMkLst>
            <pc:docMk/>
            <pc:sldMk cId="3759399816" sldId="2134806083"/>
            <ac:spMk id="8" creationId="{4E07DA0B-BD30-4A82-939E-DF2F81DA4653}"/>
          </ac:spMkLst>
        </pc:spChg>
        <pc:spChg chg="mod">
          <ac:chgData name="Emma Morris" userId="70c6f1a6-3d9c-40dc-abd7-ac4fa70f9b1e" providerId="ADAL" clId="{3EB54E3B-49FA-F94B-9FD4-8C4046C6FEA1}" dt="2025-06-17T14:14:48.659" v="84" actId="207"/>
          <ac:spMkLst>
            <pc:docMk/>
            <pc:sldMk cId="3759399816" sldId="2134806083"/>
            <ac:spMk id="15" creationId="{1BA9A1C9-5883-44F9-ABCA-7414329CAFB1}"/>
          </ac:spMkLst>
        </pc:spChg>
        <pc:picChg chg="add mod">
          <ac:chgData name="Emma Morris" userId="70c6f1a6-3d9c-40dc-abd7-ac4fa70f9b1e" providerId="ADAL" clId="{3EB54E3B-49FA-F94B-9FD4-8C4046C6FEA1}" dt="2025-06-17T14:13:29.379" v="65"/>
          <ac:picMkLst>
            <pc:docMk/>
            <pc:sldMk cId="3759399816" sldId="2134806083"/>
            <ac:picMk id="2" creationId="{4F5D6CB2-76A2-41DD-E160-33F5AF3EACB9}"/>
          </ac:picMkLst>
        </pc:picChg>
      </pc:sldChg>
      <pc:sldChg chg="addSp modSp mod">
        <pc:chgData name="Emma Morris" userId="70c6f1a6-3d9c-40dc-abd7-ac4fa70f9b1e" providerId="ADAL" clId="{3EB54E3B-49FA-F94B-9FD4-8C4046C6FEA1}" dt="2025-06-17T14:14:38.259" v="81" actId="207"/>
        <pc:sldMkLst>
          <pc:docMk/>
          <pc:sldMk cId="2526233741" sldId="2134806084"/>
        </pc:sldMkLst>
        <pc:spChg chg="mod">
          <ac:chgData name="Emma Morris" userId="70c6f1a6-3d9c-40dc-abd7-ac4fa70f9b1e" providerId="ADAL" clId="{3EB54E3B-49FA-F94B-9FD4-8C4046C6FEA1}" dt="2025-06-17T14:14:38.259" v="81" actId="207"/>
          <ac:spMkLst>
            <pc:docMk/>
            <pc:sldMk cId="2526233741" sldId="2134806084"/>
            <ac:spMk id="5" creationId="{58A4F708-2F04-4DF7-8085-BEC55FACB8B3}"/>
          </ac:spMkLst>
        </pc:spChg>
        <pc:picChg chg="add mod">
          <ac:chgData name="Emma Morris" userId="70c6f1a6-3d9c-40dc-abd7-ac4fa70f9b1e" providerId="ADAL" clId="{3EB54E3B-49FA-F94B-9FD4-8C4046C6FEA1}" dt="2025-06-17T14:13:28.079" v="64"/>
          <ac:picMkLst>
            <pc:docMk/>
            <pc:sldMk cId="2526233741" sldId="2134806084"/>
            <ac:picMk id="2" creationId="{A709C5E0-801C-6F1D-A5A2-CF106E1168C8}"/>
          </ac:picMkLst>
        </pc:picChg>
      </pc:sldChg>
      <pc:sldChg chg="addSp delSp modSp mod">
        <pc:chgData name="Emma Morris" userId="70c6f1a6-3d9c-40dc-abd7-ac4fa70f9b1e" providerId="ADAL" clId="{3EB54E3B-49FA-F94B-9FD4-8C4046C6FEA1}" dt="2025-06-17T14:15:03.706" v="89" actId="113"/>
        <pc:sldMkLst>
          <pc:docMk/>
          <pc:sldMk cId="2645340731" sldId="2134806086"/>
        </pc:sldMkLst>
        <pc:spChg chg="mod">
          <ac:chgData name="Emma Morris" userId="70c6f1a6-3d9c-40dc-abd7-ac4fa70f9b1e" providerId="ADAL" clId="{3EB54E3B-49FA-F94B-9FD4-8C4046C6FEA1}" dt="2025-06-17T14:14:55.164" v="85" actId="207"/>
          <ac:spMkLst>
            <pc:docMk/>
            <pc:sldMk cId="2645340731" sldId="2134806086"/>
            <ac:spMk id="6" creationId="{9C9B06FD-6B1C-458A-AF70-E6ABA837382D}"/>
          </ac:spMkLst>
        </pc:spChg>
        <pc:spChg chg="mod">
          <ac:chgData name="Emma Morris" userId="70c6f1a6-3d9c-40dc-abd7-ac4fa70f9b1e" providerId="ADAL" clId="{3EB54E3B-49FA-F94B-9FD4-8C4046C6FEA1}" dt="2025-06-17T14:15:03.706" v="89" actId="113"/>
          <ac:spMkLst>
            <pc:docMk/>
            <pc:sldMk cId="2645340731" sldId="2134806086"/>
            <ac:spMk id="8" creationId="{4E07DA0B-BD30-4A82-939E-DF2F81DA4653}"/>
          </ac:spMkLst>
        </pc:spChg>
        <pc:spChg chg="mod">
          <ac:chgData name="Emma Morris" userId="70c6f1a6-3d9c-40dc-abd7-ac4fa70f9b1e" providerId="ADAL" clId="{3EB54E3B-49FA-F94B-9FD4-8C4046C6FEA1}" dt="2025-06-17T14:15:03.706" v="89" actId="113"/>
          <ac:spMkLst>
            <pc:docMk/>
            <pc:sldMk cId="2645340731" sldId="2134806086"/>
            <ac:spMk id="17" creationId="{1907DBEE-2AC2-95AF-1C58-1B0B5141FFC5}"/>
          </ac:spMkLst>
        </pc:spChg>
        <pc:spChg chg="mod">
          <ac:chgData name="Emma Morris" userId="70c6f1a6-3d9c-40dc-abd7-ac4fa70f9b1e" providerId="ADAL" clId="{3EB54E3B-49FA-F94B-9FD4-8C4046C6FEA1}" dt="2025-06-17T14:15:03.706" v="89" actId="113"/>
          <ac:spMkLst>
            <pc:docMk/>
            <pc:sldMk cId="2645340731" sldId="2134806086"/>
            <ac:spMk id="18" creationId="{334738C7-CCF5-D4B2-116E-4D5F2EE7B628}"/>
          </ac:spMkLst>
        </pc:spChg>
        <pc:spChg chg="mod">
          <ac:chgData name="Emma Morris" userId="70c6f1a6-3d9c-40dc-abd7-ac4fa70f9b1e" providerId="ADAL" clId="{3EB54E3B-49FA-F94B-9FD4-8C4046C6FEA1}" dt="2025-06-17T14:15:03.706" v="89" actId="113"/>
          <ac:spMkLst>
            <pc:docMk/>
            <pc:sldMk cId="2645340731" sldId="2134806086"/>
            <ac:spMk id="20" creationId="{C270302D-B071-616F-B85E-F3883CB890EA}"/>
          </ac:spMkLst>
        </pc:spChg>
        <pc:spChg chg="mod">
          <ac:chgData name="Emma Morris" userId="70c6f1a6-3d9c-40dc-abd7-ac4fa70f9b1e" providerId="ADAL" clId="{3EB54E3B-49FA-F94B-9FD4-8C4046C6FEA1}" dt="2025-06-17T14:15:03.706" v="89" actId="113"/>
          <ac:spMkLst>
            <pc:docMk/>
            <pc:sldMk cId="2645340731" sldId="2134806086"/>
            <ac:spMk id="22" creationId="{00BCCDDB-DFB1-8032-91D0-F00C1E7605B4}"/>
          </ac:spMkLst>
        </pc:spChg>
        <pc:spChg chg="mod">
          <ac:chgData name="Emma Morris" userId="70c6f1a6-3d9c-40dc-abd7-ac4fa70f9b1e" providerId="ADAL" clId="{3EB54E3B-49FA-F94B-9FD4-8C4046C6FEA1}" dt="2025-06-17T14:15:03.706" v="89" actId="113"/>
          <ac:spMkLst>
            <pc:docMk/>
            <pc:sldMk cId="2645340731" sldId="2134806086"/>
            <ac:spMk id="25" creationId="{CCC85921-3C5C-3E38-45DF-0ADACBA4AF6E}"/>
          </ac:spMkLst>
        </pc:spChg>
      </pc:sldChg>
      <pc:sldChg chg="addSp modSp mod">
        <pc:chgData name="Emma Morris" userId="70c6f1a6-3d9c-40dc-abd7-ac4fa70f9b1e" providerId="ADAL" clId="{3EB54E3B-49FA-F94B-9FD4-8C4046C6FEA1}" dt="2025-06-17T14:15:17.691" v="92" actId="207"/>
        <pc:sldMkLst>
          <pc:docMk/>
          <pc:sldMk cId="3772768128" sldId="2134806087"/>
        </pc:sldMkLst>
        <pc:spChg chg="mod">
          <ac:chgData name="Emma Morris" userId="70c6f1a6-3d9c-40dc-abd7-ac4fa70f9b1e" providerId="ADAL" clId="{3EB54E3B-49FA-F94B-9FD4-8C4046C6FEA1}" dt="2025-06-17T14:15:17.691" v="92" actId="207"/>
          <ac:spMkLst>
            <pc:docMk/>
            <pc:sldMk cId="3772768128" sldId="2134806087"/>
            <ac:spMk id="8" creationId="{4E07DA0B-BD30-4A82-939E-DF2F81DA4653}"/>
          </ac:spMkLst>
        </pc:spChg>
        <pc:picChg chg="add mod">
          <ac:chgData name="Emma Morris" userId="70c6f1a6-3d9c-40dc-abd7-ac4fa70f9b1e" providerId="ADAL" clId="{3EB54E3B-49FA-F94B-9FD4-8C4046C6FEA1}" dt="2025-06-17T14:13:32.196" v="67"/>
          <ac:picMkLst>
            <pc:docMk/>
            <pc:sldMk cId="3772768128" sldId="2134806087"/>
            <ac:picMk id="4" creationId="{C531B7FC-8506-752C-ECFB-0BD5C1A0B105}"/>
          </ac:picMkLst>
        </pc:picChg>
      </pc:sldChg>
      <pc:sldChg chg="addSp modSp mod">
        <pc:chgData name="Emma Morris" userId="70c6f1a6-3d9c-40dc-abd7-ac4fa70f9b1e" providerId="ADAL" clId="{3EB54E3B-49FA-F94B-9FD4-8C4046C6FEA1}" dt="2025-06-17T14:15:15.144" v="91" actId="207"/>
        <pc:sldMkLst>
          <pc:docMk/>
          <pc:sldMk cId="3556849713" sldId="2134806088"/>
        </pc:sldMkLst>
        <pc:spChg chg="mod">
          <ac:chgData name="Emma Morris" userId="70c6f1a6-3d9c-40dc-abd7-ac4fa70f9b1e" providerId="ADAL" clId="{3EB54E3B-49FA-F94B-9FD4-8C4046C6FEA1}" dt="2025-06-17T14:15:15.144" v="91" actId="207"/>
          <ac:spMkLst>
            <pc:docMk/>
            <pc:sldMk cId="3556849713" sldId="2134806088"/>
            <ac:spMk id="8" creationId="{4E07DA0B-BD30-4A82-939E-DF2F81DA4653}"/>
          </ac:spMkLst>
        </pc:spChg>
        <pc:picChg chg="add mod">
          <ac:chgData name="Emma Morris" userId="70c6f1a6-3d9c-40dc-abd7-ac4fa70f9b1e" providerId="ADAL" clId="{3EB54E3B-49FA-F94B-9FD4-8C4046C6FEA1}" dt="2025-06-17T14:13:33.564" v="68"/>
          <ac:picMkLst>
            <pc:docMk/>
            <pc:sldMk cId="3556849713" sldId="2134806088"/>
            <ac:picMk id="2" creationId="{E2419DCF-B78D-D242-6313-77262D897C07}"/>
          </ac:picMkLst>
        </pc:picChg>
      </pc:sldChg>
      <pc:sldChg chg="addSp modSp mod">
        <pc:chgData name="Emma Morris" userId="70c6f1a6-3d9c-40dc-abd7-ac4fa70f9b1e" providerId="ADAL" clId="{3EB54E3B-49FA-F94B-9FD4-8C4046C6FEA1}" dt="2025-06-17T14:15:28.945" v="95" actId="207"/>
        <pc:sldMkLst>
          <pc:docMk/>
          <pc:sldMk cId="3230672679" sldId="2134806090"/>
        </pc:sldMkLst>
        <pc:spChg chg="mod">
          <ac:chgData name="Emma Morris" userId="70c6f1a6-3d9c-40dc-abd7-ac4fa70f9b1e" providerId="ADAL" clId="{3EB54E3B-49FA-F94B-9FD4-8C4046C6FEA1}" dt="2025-06-17T14:15:28.945" v="95" actId="207"/>
          <ac:spMkLst>
            <pc:docMk/>
            <pc:sldMk cId="3230672679" sldId="2134806090"/>
            <ac:spMk id="2" creationId="{7BB66DC6-14F5-23D6-FF07-98A76CC55F6D}"/>
          </ac:spMkLst>
        </pc:spChg>
        <pc:spChg chg="mod">
          <ac:chgData name="Emma Morris" userId="70c6f1a6-3d9c-40dc-abd7-ac4fa70f9b1e" providerId="ADAL" clId="{3EB54E3B-49FA-F94B-9FD4-8C4046C6FEA1}" dt="2025-06-17T14:15:28.945" v="95" actId="207"/>
          <ac:spMkLst>
            <pc:docMk/>
            <pc:sldMk cId="3230672679" sldId="2134806090"/>
            <ac:spMk id="4" creationId="{09FE2E84-924D-662F-681D-98C17BAAD6E5}"/>
          </ac:spMkLst>
        </pc:spChg>
        <pc:spChg chg="mod">
          <ac:chgData name="Emma Morris" userId="70c6f1a6-3d9c-40dc-abd7-ac4fa70f9b1e" providerId="ADAL" clId="{3EB54E3B-49FA-F94B-9FD4-8C4046C6FEA1}" dt="2025-06-17T14:15:28.945" v="95" actId="207"/>
          <ac:spMkLst>
            <pc:docMk/>
            <pc:sldMk cId="3230672679" sldId="2134806090"/>
            <ac:spMk id="5" creationId="{315ACF6C-361B-C686-EA09-C9073067BA9D}"/>
          </ac:spMkLst>
        </pc:spChg>
        <pc:spChg chg="mod">
          <ac:chgData name="Emma Morris" userId="70c6f1a6-3d9c-40dc-abd7-ac4fa70f9b1e" providerId="ADAL" clId="{3EB54E3B-49FA-F94B-9FD4-8C4046C6FEA1}" dt="2025-06-17T14:15:28.945" v="95" actId="207"/>
          <ac:spMkLst>
            <pc:docMk/>
            <pc:sldMk cId="3230672679" sldId="2134806090"/>
            <ac:spMk id="7" creationId="{A68E20D4-AAE4-467D-A99A-1D6929D63630}"/>
          </ac:spMkLst>
        </pc:spChg>
        <pc:spChg chg="mod">
          <ac:chgData name="Emma Morris" userId="70c6f1a6-3d9c-40dc-abd7-ac4fa70f9b1e" providerId="ADAL" clId="{3EB54E3B-49FA-F94B-9FD4-8C4046C6FEA1}" dt="2025-06-17T14:15:28.945" v="95" actId="207"/>
          <ac:spMkLst>
            <pc:docMk/>
            <pc:sldMk cId="3230672679" sldId="2134806090"/>
            <ac:spMk id="8" creationId="{4E07DA0B-BD30-4A82-939E-DF2F81DA4653}"/>
          </ac:spMkLst>
        </pc:spChg>
        <pc:spChg chg="mod">
          <ac:chgData name="Emma Morris" userId="70c6f1a6-3d9c-40dc-abd7-ac4fa70f9b1e" providerId="ADAL" clId="{3EB54E3B-49FA-F94B-9FD4-8C4046C6FEA1}" dt="2025-06-17T14:15:28.945" v="95" actId="207"/>
          <ac:spMkLst>
            <pc:docMk/>
            <pc:sldMk cId="3230672679" sldId="2134806090"/>
            <ac:spMk id="9" creationId="{B5D9B108-3639-4B38-AEBB-32582D577E44}"/>
          </ac:spMkLst>
        </pc:spChg>
        <pc:spChg chg="mod">
          <ac:chgData name="Emma Morris" userId="70c6f1a6-3d9c-40dc-abd7-ac4fa70f9b1e" providerId="ADAL" clId="{3EB54E3B-49FA-F94B-9FD4-8C4046C6FEA1}" dt="2025-06-17T14:15:28.945" v="95" actId="207"/>
          <ac:spMkLst>
            <pc:docMk/>
            <pc:sldMk cId="3230672679" sldId="2134806090"/>
            <ac:spMk id="10" creationId="{7BA313BE-5043-4C75-AD80-A00F95DCE445}"/>
          </ac:spMkLst>
        </pc:spChg>
        <pc:spChg chg="mod">
          <ac:chgData name="Emma Morris" userId="70c6f1a6-3d9c-40dc-abd7-ac4fa70f9b1e" providerId="ADAL" clId="{3EB54E3B-49FA-F94B-9FD4-8C4046C6FEA1}" dt="2025-06-17T14:15:28.945" v="95" actId="207"/>
          <ac:spMkLst>
            <pc:docMk/>
            <pc:sldMk cId="3230672679" sldId="2134806090"/>
            <ac:spMk id="11" creationId="{2ECD324B-9FBD-4549-9EC3-F1077E7F37C4}"/>
          </ac:spMkLst>
        </pc:spChg>
        <pc:spChg chg="mod">
          <ac:chgData name="Emma Morris" userId="70c6f1a6-3d9c-40dc-abd7-ac4fa70f9b1e" providerId="ADAL" clId="{3EB54E3B-49FA-F94B-9FD4-8C4046C6FEA1}" dt="2025-06-17T14:15:28.945" v="95" actId="207"/>
          <ac:spMkLst>
            <pc:docMk/>
            <pc:sldMk cId="3230672679" sldId="2134806090"/>
            <ac:spMk id="15" creationId="{FE845F6E-CE08-84D9-71D5-D6D085D97ED3}"/>
          </ac:spMkLst>
        </pc:spChg>
        <pc:picChg chg="add mod">
          <ac:chgData name="Emma Morris" userId="70c6f1a6-3d9c-40dc-abd7-ac4fa70f9b1e" providerId="ADAL" clId="{3EB54E3B-49FA-F94B-9FD4-8C4046C6FEA1}" dt="2025-06-17T14:13:34.827" v="69"/>
          <ac:picMkLst>
            <pc:docMk/>
            <pc:sldMk cId="3230672679" sldId="2134806090"/>
            <ac:picMk id="6" creationId="{3F51C2FD-DB59-9238-11BA-7AEE9B88492D}"/>
          </ac:picMkLst>
        </pc:picChg>
      </pc:sldChg>
      <pc:sldChg chg="addSp modSp mod">
        <pc:chgData name="Emma Morris" userId="70c6f1a6-3d9c-40dc-abd7-ac4fa70f9b1e" providerId="ADAL" clId="{3EB54E3B-49FA-F94B-9FD4-8C4046C6FEA1}" dt="2025-06-17T14:15:35.696" v="96" actId="207"/>
        <pc:sldMkLst>
          <pc:docMk/>
          <pc:sldMk cId="1797583437" sldId="2134806091"/>
        </pc:sldMkLst>
        <pc:spChg chg="mod">
          <ac:chgData name="Emma Morris" userId="70c6f1a6-3d9c-40dc-abd7-ac4fa70f9b1e" providerId="ADAL" clId="{3EB54E3B-49FA-F94B-9FD4-8C4046C6FEA1}" dt="2025-06-17T14:15:35.696" v="96" actId="207"/>
          <ac:spMkLst>
            <pc:docMk/>
            <pc:sldMk cId="1797583437" sldId="2134806091"/>
            <ac:spMk id="8" creationId="{4E07DA0B-BD30-4A82-939E-DF2F81DA4653}"/>
          </ac:spMkLst>
        </pc:spChg>
        <pc:picChg chg="add mod">
          <ac:chgData name="Emma Morris" userId="70c6f1a6-3d9c-40dc-abd7-ac4fa70f9b1e" providerId="ADAL" clId="{3EB54E3B-49FA-F94B-9FD4-8C4046C6FEA1}" dt="2025-06-17T14:13:36.574" v="70"/>
          <ac:picMkLst>
            <pc:docMk/>
            <pc:sldMk cId="1797583437" sldId="2134806091"/>
            <ac:picMk id="4" creationId="{ADC71E4B-80D8-6B26-1D51-DC8B9857BF7A}"/>
          </ac:picMkLst>
        </pc:picChg>
      </pc:sldChg>
      <pc:sldChg chg="addSp modSp mod">
        <pc:chgData name="Emma Morris" userId="70c6f1a6-3d9c-40dc-abd7-ac4fa70f9b1e" providerId="ADAL" clId="{3EB54E3B-49FA-F94B-9FD4-8C4046C6FEA1}" dt="2025-06-17T14:15:51.157" v="101" actId="1076"/>
        <pc:sldMkLst>
          <pc:docMk/>
          <pc:sldMk cId="2744730804" sldId="2134806092"/>
        </pc:sldMkLst>
        <pc:spChg chg="mod">
          <ac:chgData name="Emma Morris" userId="70c6f1a6-3d9c-40dc-abd7-ac4fa70f9b1e" providerId="ADAL" clId="{3EB54E3B-49FA-F94B-9FD4-8C4046C6FEA1}" dt="2025-06-17T14:15:51.157" v="101" actId="1076"/>
          <ac:spMkLst>
            <pc:docMk/>
            <pc:sldMk cId="2744730804" sldId="2134806092"/>
            <ac:spMk id="4" creationId="{5A63F481-F141-1D48-CFFE-55DAD00A9E96}"/>
          </ac:spMkLst>
        </pc:spChg>
        <pc:spChg chg="mod">
          <ac:chgData name="Emma Morris" userId="70c6f1a6-3d9c-40dc-abd7-ac4fa70f9b1e" providerId="ADAL" clId="{3EB54E3B-49FA-F94B-9FD4-8C4046C6FEA1}" dt="2025-06-17T14:15:48.856" v="100" actId="1076"/>
          <ac:spMkLst>
            <pc:docMk/>
            <pc:sldMk cId="2744730804" sldId="2134806092"/>
            <ac:spMk id="5" creationId="{72E2BAF4-C1AD-45BB-AB3C-2A0B05BB8280}"/>
          </ac:spMkLst>
        </pc:spChg>
        <pc:spChg chg="mod">
          <ac:chgData name="Emma Morris" userId="70c6f1a6-3d9c-40dc-abd7-ac4fa70f9b1e" providerId="ADAL" clId="{3EB54E3B-49FA-F94B-9FD4-8C4046C6FEA1}" dt="2025-06-17T14:15:46.475" v="99" actId="14100"/>
          <ac:spMkLst>
            <pc:docMk/>
            <pc:sldMk cId="2744730804" sldId="2134806092"/>
            <ac:spMk id="8" creationId="{4E07DA0B-BD30-4A82-939E-DF2F81DA4653}"/>
          </ac:spMkLst>
        </pc:spChg>
        <pc:picChg chg="add mod">
          <ac:chgData name="Emma Morris" userId="70c6f1a6-3d9c-40dc-abd7-ac4fa70f9b1e" providerId="ADAL" clId="{3EB54E3B-49FA-F94B-9FD4-8C4046C6FEA1}" dt="2025-06-17T14:13:38.542" v="71"/>
          <ac:picMkLst>
            <pc:docMk/>
            <pc:sldMk cId="2744730804" sldId="2134806092"/>
            <ac:picMk id="6" creationId="{618242C8-0236-8C11-CA56-4EF7BAB773F0}"/>
          </ac:picMkLst>
        </pc:picChg>
        <pc:picChg chg="mod">
          <ac:chgData name="Emma Morris" userId="70c6f1a6-3d9c-40dc-abd7-ac4fa70f9b1e" providerId="ADAL" clId="{3EB54E3B-49FA-F94B-9FD4-8C4046C6FEA1}" dt="2025-06-17T14:15:44.825" v="98" actId="14100"/>
          <ac:picMkLst>
            <pc:docMk/>
            <pc:sldMk cId="2744730804" sldId="2134806092"/>
            <ac:picMk id="11268" creationId="{3F2D6927-6C90-4093-85F2-AA44F0930184}"/>
          </ac:picMkLst>
        </pc:picChg>
      </pc:sldChg>
      <pc:sldChg chg="addSp modSp">
        <pc:chgData name="Emma Morris" userId="70c6f1a6-3d9c-40dc-abd7-ac4fa70f9b1e" providerId="ADAL" clId="{3EB54E3B-49FA-F94B-9FD4-8C4046C6FEA1}" dt="2025-06-17T14:13:40.274" v="72"/>
        <pc:sldMkLst>
          <pc:docMk/>
          <pc:sldMk cId="2058851664" sldId="2134806093"/>
        </pc:sldMkLst>
        <pc:picChg chg="add mod">
          <ac:chgData name="Emma Morris" userId="70c6f1a6-3d9c-40dc-abd7-ac4fa70f9b1e" providerId="ADAL" clId="{3EB54E3B-49FA-F94B-9FD4-8C4046C6FEA1}" dt="2025-06-17T14:13:40.274" v="72"/>
          <ac:picMkLst>
            <pc:docMk/>
            <pc:sldMk cId="2058851664" sldId="2134806093"/>
            <ac:picMk id="2" creationId="{9EC40639-CF9A-69DE-0E7D-17169FCA4020}"/>
          </ac:picMkLst>
        </pc:picChg>
      </pc:sldChg>
      <pc:sldChg chg="addSp modSp mod">
        <pc:chgData name="Emma Morris" userId="70c6f1a6-3d9c-40dc-abd7-ac4fa70f9b1e" providerId="ADAL" clId="{3EB54E3B-49FA-F94B-9FD4-8C4046C6FEA1}" dt="2025-06-17T14:14:43.424" v="83" actId="207"/>
        <pc:sldMkLst>
          <pc:docMk/>
          <pc:sldMk cId="192850047" sldId="2134806094"/>
        </pc:sldMkLst>
        <pc:spChg chg="mod">
          <ac:chgData name="Emma Morris" userId="70c6f1a6-3d9c-40dc-abd7-ac4fa70f9b1e" providerId="ADAL" clId="{3EB54E3B-49FA-F94B-9FD4-8C4046C6FEA1}" dt="2025-06-17T14:14:43.424" v="83" actId="207"/>
          <ac:spMkLst>
            <pc:docMk/>
            <pc:sldMk cId="192850047" sldId="2134806094"/>
            <ac:spMk id="5" creationId="{58A4F708-2F04-4DF7-8085-BEC55FACB8B3}"/>
          </ac:spMkLst>
        </pc:spChg>
        <pc:spChg chg="mod">
          <ac:chgData name="Emma Morris" userId="70c6f1a6-3d9c-40dc-abd7-ac4fa70f9b1e" providerId="ADAL" clId="{3EB54E3B-49FA-F94B-9FD4-8C4046C6FEA1}" dt="2025-06-04T13:50:16.607" v="28" actId="113"/>
          <ac:spMkLst>
            <pc:docMk/>
            <pc:sldMk cId="192850047" sldId="2134806094"/>
            <ac:spMk id="6" creationId="{AC6F5155-7184-D149-7E90-0A996B92CF16}"/>
          </ac:spMkLst>
        </pc:spChg>
        <pc:spChg chg="mod">
          <ac:chgData name="Emma Morris" userId="70c6f1a6-3d9c-40dc-abd7-ac4fa70f9b1e" providerId="ADAL" clId="{3EB54E3B-49FA-F94B-9FD4-8C4046C6FEA1}" dt="2025-06-17T14:14:43.424" v="83" actId="207"/>
          <ac:spMkLst>
            <pc:docMk/>
            <pc:sldMk cId="192850047" sldId="2134806094"/>
            <ac:spMk id="8" creationId="{A0B7AF3B-5E64-4D74-9E0D-A711ABD55214}"/>
          </ac:spMkLst>
        </pc:spChg>
        <pc:picChg chg="add mod">
          <ac:chgData name="Emma Morris" userId="70c6f1a6-3d9c-40dc-abd7-ac4fa70f9b1e" providerId="ADAL" clId="{3EB54E3B-49FA-F94B-9FD4-8C4046C6FEA1}" dt="2025-06-17T14:13:25.664" v="62"/>
          <ac:picMkLst>
            <pc:docMk/>
            <pc:sldMk cId="192850047" sldId="2134806094"/>
            <ac:picMk id="9" creationId="{20CE1949-ACBC-59D3-6149-5731FD32FDC7}"/>
          </ac:picMkLst>
        </pc:picChg>
      </pc:sldChg>
      <pc:sldChg chg="addSp modSp mod">
        <pc:chgData name="Emma Morris" userId="70c6f1a6-3d9c-40dc-abd7-ac4fa70f9b1e" providerId="ADAL" clId="{3EB54E3B-49FA-F94B-9FD4-8C4046C6FEA1}" dt="2025-06-17T14:14:41.307" v="82" actId="207"/>
        <pc:sldMkLst>
          <pc:docMk/>
          <pc:sldMk cId="1569338660" sldId="2134806095"/>
        </pc:sldMkLst>
        <pc:spChg chg="mod">
          <ac:chgData name="Emma Morris" userId="70c6f1a6-3d9c-40dc-abd7-ac4fa70f9b1e" providerId="ADAL" clId="{3EB54E3B-49FA-F94B-9FD4-8C4046C6FEA1}" dt="2025-06-17T14:14:41.307" v="82" actId="207"/>
          <ac:spMkLst>
            <pc:docMk/>
            <pc:sldMk cId="1569338660" sldId="2134806095"/>
            <ac:spMk id="15" creationId="{E9838949-5203-4369-B451-05803326365B}"/>
          </ac:spMkLst>
        </pc:spChg>
        <pc:spChg chg="mod">
          <ac:chgData name="Emma Morris" userId="70c6f1a6-3d9c-40dc-abd7-ac4fa70f9b1e" providerId="ADAL" clId="{3EB54E3B-49FA-F94B-9FD4-8C4046C6FEA1}" dt="2025-06-17T14:14:41.307" v="82" actId="207"/>
          <ac:spMkLst>
            <pc:docMk/>
            <pc:sldMk cId="1569338660" sldId="2134806095"/>
            <ac:spMk id="16" creationId="{7D14F616-9D4C-45AC-B03F-1319A1B389B9}"/>
          </ac:spMkLst>
        </pc:spChg>
        <pc:picChg chg="add mod">
          <ac:chgData name="Emma Morris" userId="70c6f1a6-3d9c-40dc-abd7-ac4fa70f9b1e" providerId="ADAL" clId="{3EB54E3B-49FA-F94B-9FD4-8C4046C6FEA1}" dt="2025-06-17T14:13:26.996" v="63"/>
          <ac:picMkLst>
            <pc:docMk/>
            <pc:sldMk cId="1569338660" sldId="2134806095"/>
            <ac:picMk id="3" creationId="{93D15D43-FC93-4533-8981-1B50F183800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C6DF3E-67E5-AF46-A64E-8E6F44BB3343}" type="datetimeFigureOut">
              <a:rPr lang="en-US" smtClean="0"/>
              <a:t>6/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1E68B6-70F9-1741-AA7C-484697655DD4}" type="slidenum">
              <a:rPr lang="en-US" smtClean="0"/>
              <a:t>‹#›</a:t>
            </a:fld>
            <a:endParaRPr lang="en-US"/>
          </a:p>
        </p:txBody>
      </p:sp>
    </p:spTree>
    <p:extLst>
      <p:ext uri="{BB962C8B-B14F-4D97-AF65-F5344CB8AC3E}">
        <p14:creationId xmlns:p14="http://schemas.microsoft.com/office/powerpoint/2010/main" val="140588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2F1E68B6-70F9-1741-AA7C-484697655DD4}" type="slidenum">
              <a:rPr lang="en-US" smtClean="0"/>
              <a:t>1</a:t>
            </a:fld>
            <a:endParaRPr lang="en-US"/>
          </a:p>
        </p:txBody>
      </p:sp>
    </p:spTree>
    <p:extLst>
      <p:ext uri="{BB962C8B-B14F-4D97-AF65-F5344CB8AC3E}">
        <p14:creationId xmlns:p14="http://schemas.microsoft.com/office/powerpoint/2010/main" val="148403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10</a:t>
            </a:fld>
            <a:endParaRPr lang="en-US"/>
          </a:p>
        </p:txBody>
      </p:sp>
    </p:spTree>
    <p:extLst>
      <p:ext uri="{BB962C8B-B14F-4D97-AF65-F5344CB8AC3E}">
        <p14:creationId xmlns:p14="http://schemas.microsoft.com/office/powerpoint/2010/main" val="34963463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11</a:t>
            </a:fld>
            <a:endParaRPr lang="en-US"/>
          </a:p>
        </p:txBody>
      </p:sp>
    </p:spTree>
    <p:extLst>
      <p:ext uri="{BB962C8B-B14F-4D97-AF65-F5344CB8AC3E}">
        <p14:creationId xmlns:p14="http://schemas.microsoft.com/office/powerpoint/2010/main" val="3665230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how these if needed</a:t>
            </a:r>
          </a:p>
        </p:txBody>
      </p:sp>
      <p:sp>
        <p:nvSpPr>
          <p:cNvPr id="4" name="Slide Number Placeholder 3"/>
          <p:cNvSpPr>
            <a:spLocks noGrp="1"/>
          </p:cNvSpPr>
          <p:nvPr>
            <p:ph type="sldNum" sz="quarter" idx="5"/>
          </p:nvPr>
        </p:nvSpPr>
        <p:spPr/>
        <p:txBody>
          <a:bodyPr/>
          <a:lstStyle/>
          <a:p>
            <a:fld id="{2F1E68B6-70F9-1741-AA7C-484697655DD4}" type="slidenum">
              <a:rPr lang="en-US" smtClean="0"/>
              <a:t>12</a:t>
            </a:fld>
            <a:endParaRPr lang="en-US"/>
          </a:p>
        </p:txBody>
      </p:sp>
    </p:spTree>
    <p:extLst>
      <p:ext uri="{BB962C8B-B14F-4D97-AF65-F5344CB8AC3E}">
        <p14:creationId xmlns:p14="http://schemas.microsoft.com/office/powerpoint/2010/main" val="1045072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uld print questions and put into a booklet with space for a picture of the final model to be glued. Encourage students to write in full sentences when answering.</a:t>
            </a:r>
          </a:p>
        </p:txBody>
      </p:sp>
      <p:sp>
        <p:nvSpPr>
          <p:cNvPr id="4" name="Slide Number Placeholder 3"/>
          <p:cNvSpPr>
            <a:spLocks noGrp="1"/>
          </p:cNvSpPr>
          <p:nvPr>
            <p:ph type="sldNum" sz="quarter" idx="5"/>
          </p:nvPr>
        </p:nvSpPr>
        <p:spPr/>
        <p:txBody>
          <a:bodyPr/>
          <a:lstStyle/>
          <a:p>
            <a:fld id="{2F1E68B6-70F9-1741-AA7C-484697655DD4}" type="slidenum">
              <a:rPr lang="en-US" smtClean="0"/>
              <a:t>13</a:t>
            </a:fld>
            <a:endParaRPr lang="en-US"/>
          </a:p>
        </p:txBody>
      </p:sp>
    </p:spTree>
    <p:extLst>
      <p:ext uri="{BB962C8B-B14F-4D97-AF65-F5344CB8AC3E}">
        <p14:creationId xmlns:p14="http://schemas.microsoft.com/office/powerpoint/2010/main" val="26190420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ound up notes to explain how they have converted wind energy into mechanical energy and how this would work in real life.</a:t>
            </a:r>
          </a:p>
        </p:txBody>
      </p:sp>
      <p:sp>
        <p:nvSpPr>
          <p:cNvPr id="4" name="Slide Number Placeholder 3"/>
          <p:cNvSpPr>
            <a:spLocks noGrp="1"/>
          </p:cNvSpPr>
          <p:nvPr>
            <p:ph type="sldNum" sz="quarter" idx="5"/>
          </p:nvPr>
        </p:nvSpPr>
        <p:spPr/>
        <p:txBody>
          <a:bodyPr/>
          <a:lstStyle/>
          <a:p>
            <a:fld id="{2F1E68B6-70F9-1741-AA7C-484697655DD4}" type="slidenum">
              <a:rPr lang="en-US" smtClean="0"/>
              <a:t>14</a:t>
            </a:fld>
            <a:endParaRPr lang="en-US"/>
          </a:p>
        </p:txBody>
      </p:sp>
    </p:spTree>
    <p:extLst>
      <p:ext uri="{BB962C8B-B14F-4D97-AF65-F5344CB8AC3E}">
        <p14:creationId xmlns:p14="http://schemas.microsoft.com/office/powerpoint/2010/main" val="3545330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15</a:t>
            </a:fld>
            <a:endParaRPr lang="en-US"/>
          </a:p>
        </p:txBody>
      </p:sp>
    </p:spTree>
    <p:extLst>
      <p:ext uri="{BB962C8B-B14F-4D97-AF65-F5344CB8AC3E}">
        <p14:creationId xmlns:p14="http://schemas.microsoft.com/office/powerpoint/2010/main" val="2606772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16</a:t>
            </a:fld>
            <a:endParaRPr lang="en-US"/>
          </a:p>
        </p:txBody>
      </p:sp>
    </p:spTree>
    <p:extLst>
      <p:ext uri="{BB962C8B-B14F-4D97-AF65-F5344CB8AC3E}">
        <p14:creationId xmlns:p14="http://schemas.microsoft.com/office/powerpoint/2010/main" val="3905239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2</a:t>
            </a:fld>
            <a:endParaRPr lang="en-US"/>
          </a:p>
        </p:txBody>
      </p:sp>
    </p:spTree>
    <p:extLst>
      <p:ext uri="{BB962C8B-B14F-4D97-AF65-F5344CB8AC3E}">
        <p14:creationId xmlns:p14="http://schemas.microsoft.com/office/powerpoint/2010/main" val="1105942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3</a:t>
            </a:fld>
            <a:endParaRPr lang="en-US"/>
          </a:p>
        </p:txBody>
      </p:sp>
    </p:spTree>
    <p:extLst>
      <p:ext uri="{BB962C8B-B14F-4D97-AF65-F5344CB8AC3E}">
        <p14:creationId xmlns:p14="http://schemas.microsoft.com/office/powerpoint/2010/main" val="1082548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4</a:t>
            </a:fld>
            <a:endParaRPr lang="en-US"/>
          </a:p>
        </p:txBody>
      </p:sp>
    </p:spTree>
    <p:extLst>
      <p:ext uri="{BB962C8B-B14F-4D97-AF65-F5344CB8AC3E}">
        <p14:creationId xmlns:p14="http://schemas.microsoft.com/office/powerpoint/2010/main" val="1663911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5</a:t>
            </a:fld>
            <a:endParaRPr lang="en-US"/>
          </a:p>
        </p:txBody>
      </p:sp>
    </p:spTree>
    <p:extLst>
      <p:ext uri="{BB962C8B-B14F-4D97-AF65-F5344CB8AC3E}">
        <p14:creationId xmlns:p14="http://schemas.microsoft.com/office/powerpoint/2010/main" val="681441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lick through the images whilst reading the prompts</a:t>
            </a:r>
          </a:p>
        </p:txBody>
      </p:sp>
      <p:sp>
        <p:nvSpPr>
          <p:cNvPr id="4" name="Slide Number Placeholder 3"/>
          <p:cNvSpPr>
            <a:spLocks noGrp="1"/>
          </p:cNvSpPr>
          <p:nvPr>
            <p:ph type="sldNum" sz="quarter" idx="5"/>
          </p:nvPr>
        </p:nvSpPr>
        <p:spPr/>
        <p:txBody>
          <a:bodyPr/>
          <a:lstStyle/>
          <a:p>
            <a:fld id="{2F1E68B6-70F9-1741-AA7C-484697655DD4}" type="slidenum">
              <a:rPr lang="en-US" smtClean="0"/>
              <a:t>6</a:t>
            </a:fld>
            <a:endParaRPr lang="en-US"/>
          </a:p>
        </p:txBody>
      </p:sp>
    </p:spTree>
    <p:extLst>
      <p:ext uri="{BB962C8B-B14F-4D97-AF65-F5344CB8AC3E}">
        <p14:creationId xmlns:p14="http://schemas.microsoft.com/office/powerpoint/2010/main" val="1170272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7</a:t>
            </a:fld>
            <a:endParaRPr lang="en-US"/>
          </a:p>
        </p:txBody>
      </p:sp>
    </p:spTree>
    <p:extLst>
      <p:ext uri="{BB962C8B-B14F-4D97-AF65-F5344CB8AC3E}">
        <p14:creationId xmlns:p14="http://schemas.microsoft.com/office/powerpoint/2010/main" val="39904886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reate hand out for this so that students can draw a line between the matching explanation and type of energy source</a:t>
            </a:r>
          </a:p>
        </p:txBody>
      </p:sp>
      <p:sp>
        <p:nvSpPr>
          <p:cNvPr id="4" name="Slide Number Placeholder 3"/>
          <p:cNvSpPr>
            <a:spLocks noGrp="1"/>
          </p:cNvSpPr>
          <p:nvPr>
            <p:ph type="sldNum" sz="quarter" idx="5"/>
          </p:nvPr>
        </p:nvSpPr>
        <p:spPr/>
        <p:txBody>
          <a:bodyPr/>
          <a:lstStyle/>
          <a:p>
            <a:fld id="{2F1E68B6-70F9-1741-AA7C-484697655DD4}" type="slidenum">
              <a:rPr lang="en-US" smtClean="0"/>
              <a:t>8</a:t>
            </a:fld>
            <a:endParaRPr lang="en-US"/>
          </a:p>
        </p:txBody>
      </p:sp>
    </p:spTree>
    <p:extLst>
      <p:ext uri="{BB962C8B-B14F-4D97-AF65-F5344CB8AC3E}">
        <p14:creationId xmlns:p14="http://schemas.microsoft.com/office/powerpoint/2010/main" val="892449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9</a:t>
            </a:fld>
            <a:endParaRPr lang="en-US"/>
          </a:p>
        </p:txBody>
      </p:sp>
    </p:spTree>
    <p:extLst>
      <p:ext uri="{BB962C8B-B14F-4D97-AF65-F5344CB8AC3E}">
        <p14:creationId xmlns:p14="http://schemas.microsoft.com/office/powerpoint/2010/main" val="30786257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Blank">
    <p:bg>
      <p:bgPr>
        <a:solidFill>
          <a:schemeClr val="accent3"/>
        </a:solidFill>
        <a:effectLst/>
      </p:bgPr>
    </p:bg>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CA983368-791D-BC47-4FCE-93DCABC7997B}"/>
              </a:ext>
            </a:extLst>
          </p:cNvPr>
          <p:cNvSpPr>
            <a:spLocks noGrp="1"/>
          </p:cNvSpPr>
          <p:nvPr>
            <p:ph type="title" hasCustomPrompt="1"/>
          </p:nvPr>
        </p:nvSpPr>
        <p:spPr>
          <a:xfrm>
            <a:off x="334108" y="1947741"/>
            <a:ext cx="4329967" cy="1961651"/>
          </a:xfrm>
          <a:prstGeom prst="rect">
            <a:avLst/>
          </a:prstGeom>
        </p:spPr>
        <p:txBody>
          <a:bodyPr/>
          <a:lstStyle>
            <a:lvl1pPr>
              <a:defRPr sz="4400" b="0" i="0">
                <a:solidFill>
                  <a:schemeClr val="bg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presentation title</a:t>
            </a:r>
            <a:endParaRPr lang="en-US"/>
          </a:p>
        </p:txBody>
      </p:sp>
      <p:sp>
        <p:nvSpPr>
          <p:cNvPr id="5" name="Text Placeholder 14">
            <a:extLst>
              <a:ext uri="{FF2B5EF4-FFF2-40B4-BE49-F238E27FC236}">
                <a16:creationId xmlns:a16="http://schemas.microsoft.com/office/drawing/2014/main" id="{CD7B4470-F057-577C-08F8-270EC8E7C979}"/>
              </a:ext>
            </a:extLst>
          </p:cNvPr>
          <p:cNvSpPr>
            <a:spLocks noGrp="1"/>
          </p:cNvSpPr>
          <p:nvPr>
            <p:ph type="body" sz="quarter" idx="10" hasCustomPrompt="1"/>
          </p:nvPr>
        </p:nvSpPr>
        <p:spPr>
          <a:xfrm>
            <a:off x="333418" y="4395789"/>
            <a:ext cx="4330657" cy="428004"/>
          </a:xfrm>
          <a:prstGeom prst="rect">
            <a:avLst/>
          </a:prstGeom>
        </p:spPr>
        <p:txBody>
          <a:bodyPr/>
          <a:lstStyle>
            <a:lvl1pPr marL="0" indent="0" algn="l">
              <a:lnSpc>
                <a:spcPct val="150000"/>
              </a:lnSpc>
              <a:buNone/>
              <a:defRPr b="0" i="0" baseline="30000">
                <a:solidFill>
                  <a:schemeClr val="bg1"/>
                </a:solidFill>
                <a:latin typeface="Inter" panose="02000503000000020004" pitchFamily="2" charset="0"/>
                <a:ea typeface="Inter" panose="02000503000000020004" pitchFamily="2" charset="0"/>
                <a:cs typeface="Arial" panose="020B0604020202020204" pitchFamily="34" charset="0"/>
              </a:defRPr>
            </a:lvl1pPr>
          </a:lstStyle>
          <a:p>
            <a:pPr lvl="0"/>
            <a:r>
              <a:rPr lang="en-GB"/>
              <a:t>Insert date or sub-title</a:t>
            </a:r>
            <a:endParaRPr lang="en-US"/>
          </a:p>
        </p:txBody>
      </p:sp>
    </p:spTree>
    <p:extLst>
      <p:ext uri="{BB962C8B-B14F-4D97-AF65-F5344CB8AC3E}">
        <p14:creationId xmlns:p14="http://schemas.microsoft.com/office/powerpoint/2010/main" val="12773683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rgundy - Half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096000" y="1"/>
            <a:ext cx="6095999" cy="6857999"/>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2637049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rgundy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3017185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rgundy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3674291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ilac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1520829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lac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4976877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ilac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16605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ilac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5207628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lac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1962192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lac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26288901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ilac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515001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Blank - White Text">
    <p:bg>
      <p:bgPr>
        <a:solidFill>
          <a:schemeClr val="accent3"/>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3" name="Title 8">
            <a:extLst>
              <a:ext uri="{FF2B5EF4-FFF2-40B4-BE49-F238E27FC236}">
                <a16:creationId xmlns:a16="http://schemas.microsoft.com/office/drawing/2014/main" id="{2F0F4649-74F2-0B6F-C33D-5D3646814BF7}"/>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4" name="Text Placeholder 14">
            <a:extLst>
              <a:ext uri="{FF2B5EF4-FFF2-40B4-BE49-F238E27FC236}">
                <a16:creationId xmlns:a16="http://schemas.microsoft.com/office/drawing/2014/main" id="{B1347F01-C180-C1E6-46F6-5FB68BA5E313}"/>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24009630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ilac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28161915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087976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en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5498843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een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693414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een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1076842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een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24144439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een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20473639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een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15330640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en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19849870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479614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lank - Dark Text Right">
    <p:bg>
      <p:bgPr>
        <a:solidFill>
          <a:schemeClr val="accent3"/>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Title 8">
            <a:extLst>
              <a:ext uri="{FF2B5EF4-FFF2-40B4-BE49-F238E27FC236}">
                <a16:creationId xmlns:a16="http://schemas.microsoft.com/office/drawing/2014/main" id="{2F0F4649-74F2-0B6F-C33D-5D3646814BF7}"/>
              </a:ext>
            </a:extLst>
          </p:cNvPr>
          <p:cNvSpPr>
            <a:spLocks noGrp="1"/>
          </p:cNvSpPr>
          <p:nvPr>
            <p:ph type="title" hasCustomPrompt="1"/>
          </p:nvPr>
        </p:nvSpPr>
        <p:spPr>
          <a:xfrm>
            <a:off x="7716382" y="423741"/>
            <a:ext cx="4197323"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4" name="Text Placeholder 14">
            <a:extLst>
              <a:ext uri="{FF2B5EF4-FFF2-40B4-BE49-F238E27FC236}">
                <a16:creationId xmlns:a16="http://schemas.microsoft.com/office/drawing/2014/main" id="{B1347F01-C180-C1E6-46F6-5FB68BA5E313}"/>
              </a:ext>
            </a:extLst>
          </p:cNvPr>
          <p:cNvSpPr>
            <a:spLocks noGrp="1"/>
          </p:cNvSpPr>
          <p:nvPr>
            <p:ph type="body" sz="quarter" idx="10"/>
          </p:nvPr>
        </p:nvSpPr>
        <p:spPr>
          <a:xfrm>
            <a:off x="7716382"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29918852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7018703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ey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976723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ey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01022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ey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678908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ey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659386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ey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14148694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ey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12756156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110054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30427212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707810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rgundy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8164989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hite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545431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33780726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hite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9727084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White - Half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095999" y="0"/>
            <a:ext cx="6096001" cy="6857999"/>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29056822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hite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432452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ite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41503313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a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13DFD72A-8F3F-0894-6A6B-C44DB8C0C1A3}"/>
              </a:ext>
            </a:extLst>
          </p:cNvPr>
          <p:cNvSpPr>
            <a:spLocks noGrp="1"/>
          </p:cNvSpPr>
          <p:nvPr>
            <p:ph type="title" hasCustomPrompt="1"/>
          </p:nvPr>
        </p:nvSpPr>
        <p:spPr>
          <a:xfrm>
            <a:off x="334108" y="2572795"/>
            <a:ext cx="10515600"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Thank you</a:t>
            </a:r>
            <a:endParaRPr lang="en-US"/>
          </a:p>
        </p:txBody>
      </p:sp>
      <p:sp>
        <p:nvSpPr>
          <p:cNvPr id="3" name="TextBox 2">
            <a:extLst>
              <a:ext uri="{FF2B5EF4-FFF2-40B4-BE49-F238E27FC236}">
                <a16:creationId xmlns:a16="http://schemas.microsoft.com/office/drawing/2014/main" id="{1655E2D0-8BC2-894A-6BA1-591F5BF4DC60}"/>
              </a:ext>
            </a:extLst>
          </p:cNvPr>
          <p:cNvSpPr txBox="1"/>
          <p:nvPr userDrawn="1"/>
        </p:nvSpPr>
        <p:spPr>
          <a:xfrm>
            <a:off x="333375" y="3859295"/>
            <a:ext cx="5351808" cy="1815882"/>
          </a:xfrm>
          <a:prstGeom prst="rect">
            <a:avLst/>
          </a:prstGeom>
          <a:noFill/>
        </p:spPr>
        <p:txBody>
          <a:bodyPr wrap="square" rtlCol="0">
            <a:spAutoFit/>
          </a:bodyPr>
          <a:lstStyle/>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Teesside Airport Business Suite</a:t>
            </a:r>
          </a:p>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Teesside International Airport</a:t>
            </a:r>
          </a:p>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Darlington DL2 1NJ</a:t>
            </a:r>
          </a:p>
          <a:p>
            <a:pPr lvl="0"/>
            <a:endParaRPr lang="en-GB" sz="1400" b="0" i="0">
              <a:solidFill>
                <a:schemeClr val="bg1"/>
              </a:solidFill>
              <a:latin typeface="Inter" panose="02000503000000020004" pitchFamily="2" charset="0"/>
              <a:ea typeface="Inter" panose="02000503000000020004" pitchFamily="2" charset="0"/>
              <a:cs typeface="Arial" panose="020B0604020202020204" pitchFamily="34" charset="0"/>
            </a:endParaRPr>
          </a:p>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01325 792 600</a:t>
            </a:r>
          </a:p>
          <a:p>
            <a:pPr lvl="0"/>
            <a:r>
              <a:rPr lang="en-GB" sz="1400" b="0" i="0" err="1">
                <a:solidFill>
                  <a:schemeClr val="bg1"/>
                </a:solidFill>
                <a:latin typeface="Inter" panose="02000503000000020004" pitchFamily="2" charset="0"/>
                <a:ea typeface="Inter" panose="02000503000000020004" pitchFamily="2" charset="0"/>
                <a:cs typeface="Arial" panose="020B0604020202020204" pitchFamily="34" charset="0"/>
              </a:rPr>
              <a:t>www.teesvalley-ca.gov.uk</a:t>
            </a:r>
            <a:endParaRPr lang="en-GB" sz="1400" b="0" i="0">
              <a:solidFill>
                <a:schemeClr val="bg1"/>
              </a:solidFill>
              <a:latin typeface="Inter" panose="02000503000000020004" pitchFamily="2" charset="0"/>
              <a:ea typeface="Inter" panose="02000503000000020004" pitchFamily="2" charset="0"/>
              <a:cs typeface="Arial" panose="020B0604020202020204" pitchFamily="34" charset="0"/>
            </a:endParaRPr>
          </a:p>
          <a:p>
            <a:pPr lvl="0"/>
            <a:endParaRPr lang="en-GB" sz="1400" b="0" i="0">
              <a:solidFill>
                <a:schemeClr val="bg1"/>
              </a:solidFill>
              <a:latin typeface="Inter" panose="02000503000000020004" pitchFamily="2" charset="0"/>
              <a:ea typeface="Inter" panose="02000503000000020004" pitchFamily="2" charset="0"/>
              <a:cs typeface="Arial" panose="020B0604020202020204" pitchFamily="34" charset="0"/>
            </a:endParaRPr>
          </a:p>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Follow us </a:t>
            </a:r>
            <a:r>
              <a:rPr lang="en-GB" sz="1400" b="0" i="0">
                <a:solidFill>
                  <a:schemeClr val="accent1"/>
                </a:solidFill>
                <a:latin typeface="Inter" panose="02000503000000020004" pitchFamily="2" charset="0"/>
                <a:ea typeface="Inter" panose="02000503000000020004" pitchFamily="2" charset="0"/>
                <a:cs typeface="Arial" panose="020B0604020202020204" pitchFamily="34" charset="0"/>
              </a:rPr>
              <a:t>@</a:t>
            </a:r>
            <a:r>
              <a:rPr lang="en-GB" sz="1400" b="0" i="0" err="1">
                <a:solidFill>
                  <a:schemeClr val="accent1"/>
                </a:solidFill>
                <a:latin typeface="Inter" panose="02000503000000020004" pitchFamily="2" charset="0"/>
                <a:ea typeface="Inter" panose="02000503000000020004" pitchFamily="2" charset="0"/>
                <a:cs typeface="Arial" panose="020B0604020202020204" pitchFamily="34" charset="0"/>
              </a:rPr>
              <a:t>TeesValleyCA</a:t>
            </a:r>
            <a:endParaRPr lang="en-GB" sz="1400" b="0" i="0">
              <a:solidFill>
                <a:schemeClr val="accent1"/>
              </a:solidFill>
              <a:latin typeface="Inter" panose="02000503000000020004" pitchFamily="2" charset="0"/>
              <a:ea typeface="Inter" panose="02000503000000020004" pitchFamily="2" charset="0"/>
              <a:cs typeface="Arial" panose="020B0604020202020204" pitchFamily="34" charset="0"/>
            </a:endParaRPr>
          </a:p>
        </p:txBody>
      </p:sp>
    </p:spTree>
    <p:extLst>
      <p:ext uri="{BB962C8B-B14F-4D97-AF65-F5344CB8AC3E}">
        <p14:creationId xmlns:p14="http://schemas.microsoft.com/office/powerpoint/2010/main" val="428070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7100C9-EDC1-BF40-803E-2333378886CE}"/>
              </a:ext>
            </a:extLst>
          </p:cNvPr>
          <p:cNvSpPr>
            <a:spLocks noGrp="1"/>
          </p:cNvSpPr>
          <p:nvPr>
            <p:ph type="body" sz="quarter" idx="10" hasCustomPrompt="1"/>
          </p:nvPr>
        </p:nvSpPr>
        <p:spPr>
          <a:xfrm>
            <a:off x="2997482" y="2105268"/>
            <a:ext cx="6203950" cy="1890999"/>
          </a:xfrm>
          <a:prstGeom prst="rect">
            <a:avLst/>
          </a:prstGeom>
        </p:spPr>
        <p:txBody>
          <a:bodyPr anchor="ctr"/>
          <a:lstStyle>
            <a:lvl1pPr marL="0" indent="0" algn="ctr">
              <a:buNone/>
              <a:defRPr sz="6000">
                <a:solidFill>
                  <a:schemeClr val="bg1"/>
                </a:solidFill>
                <a:latin typeface="Arial" panose="020B0604020202020204" pitchFamily="34" charset="0"/>
                <a:cs typeface="Arial" panose="020B0604020202020204" pitchFamily="34" charset="0"/>
              </a:defRPr>
            </a:lvl1pPr>
          </a:lstStyle>
          <a:p>
            <a:pPr lvl="0"/>
            <a:r>
              <a:rPr lang="en-US"/>
              <a:t>INSERT</a:t>
            </a:r>
            <a:br>
              <a:rPr lang="en-US"/>
            </a:br>
            <a:r>
              <a:rPr lang="en-US"/>
              <a:t>TITLE HERE</a:t>
            </a:r>
          </a:p>
        </p:txBody>
      </p:sp>
      <p:sp>
        <p:nvSpPr>
          <p:cNvPr id="13" name="Text Placeholder 10">
            <a:extLst>
              <a:ext uri="{FF2B5EF4-FFF2-40B4-BE49-F238E27FC236}">
                <a16:creationId xmlns:a16="http://schemas.microsoft.com/office/drawing/2014/main" id="{51AD8F94-5017-434D-AEC4-6D8A3A547993}"/>
              </a:ext>
            </a:extLst>
          </p:cNvPr>
          <p:cNvSpPr>
            <a:spLocks noGrp="1"/>
          </p:cNvSpPr>
          <p:nvPr>
            <p:ph type="body" sz="quarter" idx="11" hasCustomPrompt="1"/>
          </p:nvPr>
        </p:nvSpPr>
        <p:spPr>
          <a:xfrm>
            <a:off x="2997482" y="6169308"/>
            <a:ext cx="6203950" cy="337293"/>
          </a:xfrm>
          <a:prstGeom prst="rect">
            <a:avLst/>
          </a:prstGeom>
        </p:spPr>
        <p:txBody>
          <a:bodyPr anchor="ctr"/>
          <a:lstStyle>
            <a:lvl1pPr marL="0" indent="0" algn="ctr">
              <a:buNone/>
              <a:defRPr sz="1600">
                <a:solidFill>
                  <a:schemeClr val="bg1"/>
                </a:solidFill>
                <a:latin typeface="Arial" panose="020B0604020202020204" pitchFamily="34" charset="0"/>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35505007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lt">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7100C9-EDC1-BF40-803E-2333378886CE}"/>
              </a:ext>
            </a:extLst>
          </p:cNvPr>
          <p:cNvSpPr>
            <a:spLocks noGrp="1"/>
          </p:cNvSpPr>
          <p:nvPr>
            <p:ph type="body" sz="quarter" idx="10" hasCustomPrompt="1"/>
          </p:nvPr>
        </p:nvSpPr>
        <p:spPr>
          <a:xfrm>
            <a:off x="320543" y="1349894"/>
            <a:ext cx="6203950" cy="1890999"/>
          </a:xfrm>
          <a:prstGeom prst="rect">
            <a:avLst/>
          </a:prstGeom>
        </p:spPr>
        <p:txBody>
          <a:bodyPr anchor="ctr"/>
          <a:lstStyle>
            <a:lvl1pPr marL="0" indent="0" algn="l">
              <a:buNone/>
              <a:defRPr sz="6000">
                <a:solidFill>
                  <a:schemeClr val="bg1"/>
                </a:solidFill>
                <a:latin typeface="Arial" panose="020B0604020202020204" pitchFamily="34" charset="0"/>
                <a:cs typeface="Arial" panose="020B0604020202020204" pitchFamily="34" charset="0"/>
              </a:defRPr>
            </a:lvl1pPr>
          </a:lstStyle>
          <a:p>
            <a:pPr lvl="0"/>
            <a:r>
              <a:rPr lang="en-US"/>
              <a:t>INSERT</a:t>
            </a:r>
            <a:br>
              <a:rPr lang="en-US"/>
            </a:br>
            <a:r>
              <a:rPr lang="en-US"/>
              <a:t>TITLE HERE</a:t>
            </a:r>
          </a:p>
        </p:txBody>
      </p:sp>
      <p:sp>
        <p:nvSpPr>
          <p:cNvPr id="13" name="Text Placeholder 10">
            <a:extLst>
              <a:ext uri="{FF2B5EF4-FFF2-40B4-BE49-F238E27FC236}">
                <a16:creationId xmlns:a16="http://schemas.microsoft.com/office/drawing/2014/main" id="{51AD8F94-5017-434D-AEC4-6D8A3A547993}"/>
              </a:ext>
            </a:extLst>
          </p:cNvPr>
          <p:cNvSpPr>
            <a:spLocks noGrp="1"/>
          </p:cNvSpPr>
          <p:nvPr>
            <p:ph type="body" sz="quarter" idx="11" hasCustomPrompt="1"/>
          </p:nvPr>
        </p:nvSpPr>
        <p:spPr>
          <a:xfrm>
            <a:off x="320543" y="6184262"/>
            <a:ext cx="6203950" cy="337293"/>
          </a:xfrm>
          <a:prstGeom prst="rect">
            <a:avLst/>
          </a:prstGeom>
        </p:spPr>
        <p:txBody>
          <a:bodyPr anchor="ctr"/>
          <a:lstStyle>
            <a:lvl1pPr marL="0" indent="0" algn="l">
              <a:buNone/>
              <a:defRPr sz="1600">
                <a:solidFill>
                  <a:schemeClr val="bg1"/>
                </a:solidFill>
                <a:latin typeface="Arial" panose="020B0604020202020204" pitchFamily="34" charset="0"/>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29554179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0FF32527-99F6-2342-8E33-882CD3C511A4}"/>
              </a:ext>
            </a:extLst>
          </p:cNvPr>
          <p:cNvSpPr>
            <a:spLocks noGrp="1"/>
          </p:cNvSpPr>
          <p:nvPr>
            <p:ph type="body" sz="quarter" idx="10" hasCustomPrompt="1"/>
          </p:nvPr>
        </p:nvSpPr>
        <p:spPr>
          <a:xfrm>
            <a:off x="2997482" y="2138049"/>
            <a:ext cx="6203950" cy="1933154"/>
          </a:xfrm>
          <a:prstGeom prst="rect">
            <a:avLst/>
          </a:prstGeom>
        </p:spPr>
        <p:txBody>
          <a:bodyPr anchor="ctr"/>
          <a:lstStyle>
            <a:lvl1pPr marL="0" indent="0" algn="ctr">
              <a:buNone/>
              <a:defRPr sz="5400">
                <a:solidFill>
                  <a:schemeClr val="bg1"/>
                </a:solidFill>
                <a:latin typeface="Arial" panose="020B0604020202020204" pitchFamily="34" charset="0"/>
                <a:cs typeface="Arial" panose="020B0604020202020204" pitchFamily="34" charset="0"/>
              </a:defRPr>
            </a:lvl1pPr>
          </a:lstStyle>
          <a:p>
            <a:pPr lvl="0"/>
            <a:r>
              <a:rPr lang="en-US"/>
              <a:t>INSERT SECTION</a:t>
            </a:r>
            <a:br>
              <a:rPr lang="en-US"/>
            </a:br>
            <a:r>
              <a:rPr lang="en-US"/>
              <a:t>TITLE HERE</a:t>
            </a:r>
          </a:p>
        </p:txBody>
      </p:sp>
      <p:sp>
        <p:nvSpPr>
          <p:cNvPr id="3" name="Text Placeholder 10">
            <a:extLst>
              <a:ext uri="{FF2B5EF4-FFF2-40B4-BE49-F238E27FC236}">
                <a16:creationId xmlns:a16="http://schemas.microsoft.com/office/drawing/2014/main" id="{470AEB01-27DF-384A-B2CA-C57A4CAF7784}"/>
              </a:ext>
            </a:extLst>
          </p:cNvPr>
          <p:cNvSpPr>
            <a:spLocks noGrp="1"/>
          </p:cNvSpPr>
          <p:nvPr>
            <p:ph type="body" sz="quarter" idx="11" hasCustomPrompt="1"/>
          </p:nvPr>
        </p:nvSpPr>
        <p:spPr>
          <a:xfrm>
            <a:off x="2997482" y="6169308"/>
            <a:ext cx="6203950" cy="337293"/>
          </a:xfrm>
          <a:prstGeom prst="rect">
            <a:avLst/>
          </a:prstGeom>
        </p:spPr>
        <p:txBody>
          <a:bodyPr anchor="ctr"/>
          <a:lstStyle>
            <a:lvl1pPr marL="0" indent="0" algn="ctr">
              <a:buNone/>
              <a:defRPr sz="1600">
                <a:solidFill>
                  <a:schemeClr val="bg1"/>
                </a:solidFill>
                <a:latin typeface="Arial" panose="020B0604020202020204" pitchFamily="34" charset="0"/>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2686809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rgundy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5588116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chemeClr val="bg1"/>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p:nvPr>
        </p:nvSpPr>
        <p:spPr>
          <a:xfrm>
            <a:off x="245574" y="289535"/>
            <a:ext cx="6753225" cy="518868"/>
          </a:xfrm>
          <a:prstGeom prst="rect">
            <a:avLst/>
          </a:prstGeom>
        </p:spPr>
        <p:txBody>
          <a:bodyPr/>
          <a:lstStyle>
            <a:lvl1pPr marL="0" indent="0">
              <a:buNone/>
              <a:defRPr sz="3200">
                <a:solidFill>
                  <a:schemeClr val="bg1"/>
                </a:solidFill>
                <a:latin typeface="Arial" panose="020B0604020202020204" pitchFamily="34" charset="0"/>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3" y="1321166"/>
            <a:ext cx="6753225" cy="518868"/>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18134448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rgbClr val="0F0A30"/>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p:nvPr>
        </p:nvSpPr>
        <p:spPr>
          <a:xfrm>
            <a:off x="245574" y="289535"/>
            <a:ext cx="6753225" cy="518868"/>
          </a:xfrm>
          <a:prstGeom prst="rect">
            <a:avLst/>
          </a:prstGeom>
        </p:spPr>
        <p:txBody>
          <a:bodyPr/>
          <a:lstStyle>
            <a:lvl1pPr marL="0" indent="0">
              <a:buNone/>
              <a:defRPr sz="3200">
                <a:solidFill>
                  <a:srgbClr val="0F0A30"/>
                </a:solidFill>
                <a:latin typeface="Arial" panose="020B0604020202020204" pitchFamily="34" charset="0"/>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3" y="1321166"/>
            <a:ext cx="6753225" cy="518868"/>
          </a:xfrm>
          <a:prstGeom prst="rect">
            <a:avLst/>
          </a:prstGeom>
        </p:spPr>
        <p:txBody>
          <a:bodyPr/>
          <a:lstStyle>
            <a:lvl1pPr marL="0" indent="0">
              <a:buNone/>
              <a:defRPr sz="1800">
                <a:solidFill>
                  <a:srgbClr val="0F0A30"/>
                </a:solidFill>
                <a:latin typeface="Arial" panose="020B0604020202020204" pitchFamily="34"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20598474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7100C9-EDC1-BF40-803E-2333378886CE}"/>
              </a:ext>
            </a:extLst>
          </p:cNvPr>
          <p:cNvSpPr>
            <a:spLocks noGrp="1"/>
          </p:cNvSpPr>
          <p:nvPr>
            <p:ph type="body" sz="quarter" idx="10" hasCustomPrompt="1"/>
          </p:nvPr>
        </p:nvSpPr>
        <p:spPr>
          <a:xfrm>
            <a:off x="2997482" y="2105268"/>
            <a:ext cx="6203950" cy="1890999"/>
          </a:xfrm>
          <a:prstGeom prst="rect">
            <a:avLst/>
          </a:prstGeom>
        </p:spPr>
        <p:txBody>
          <a:bodyPr anchor="ctr"/>
          <a:lstStyle>
            <a:lvl1pPr marL="0" indent="0" algn="ctr">
              <a:buNone/>
              <a:defRPr sz="6000">
                <a:solidFill>
                  <a:schemeClr val="bg1"/>
                </a:solidFill>
                <a:latin typeface="Torque Book" panose="020B0503030202050203" pitchFamily="34" charset="77"/>
                <a:cs typeface="Arial" panose="020B0604020202020204" pitchFamily="34" charset="0"/>
              </a:defRPr>
            </a:lvl1pPr>
          </a:lstStyle>
          <a:p>
            <a:pPr lvl="0"/>
            <a:r>
              <a:rPr lang="en-US"/>
              <a:t>INSERT</a:t>
            </a:r>
            <a:br>
              <a:rPr lang="en-US"/>
            </a:br>
            <a:r>
              <a:rPr lang="en-US"/>
              <a:t>TITLE HERE</a:t>
            </a:r>
          </a:p>
        </p:txBody>
      </p:sp>
      <p:sp>
        <p:nvSpPr>
          <p:cNvPr id="13" name="Text Placeholder 10">
            <a:extLst>
              <a:ext uri="{FF2B5EF4-FFF2-40B4-BE49-F238E27FC236}">
                <a16:creationId xmlns:a16="http://schemas.microsoft.com/office/drawing/2014/main" id="{51AD8F94-5017-434D-AEC4-6D8A3A547993}"/>
              </a:ext>
            </a:extLst>
          </p:cNvPr>
          <p:cNvSpPr>
            <a:spLocks noGrp="1"/>
          </p:cNvSpPr>
          <p:nvPr>
            <p:ph type="body" sz="quarter" idx="11" hasCustomPrompt="1"/>
          </p:nvPr>
        </p:nvSpPr>
        <p:spPr>
          <a:xfrm>
            <a:off x="2997482" y="6169308"/>
            <a:ext cx="6203950" cy="337293"/>
          </a:xfrm>
          <a:prstGeom prst="rect">
            <a:avLst/>
          </a:prstGeom>
        </p:spPr>
        <p:txBody>
          <a:bodyPr anchor="ctr"/>
          <a:lstStyle>
            <a:lvl1pPr marL="0" indent="0" algn="ctr">
              <a:buNone/>
              <a:defRPr sz="1600">
                <a:solidFill>
                  <a:schemeClr val="bg1"/>
                </a:solidFill>
                <a:latin typeface="Torque Book" panose="020B0503030202050203" pitchFamily="34" charset="77"/>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13674288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0FF32527-99F6-2342-8E33-882CD3C511A4}"/>
              </a:ext>
            </a:extLst>
          </p:cNvPr>
          <p:cNvSpPr>
            <a:spLocks noGrp="1"/>
          </p:cNvSpPr>
          <p:nvPr>
            <p:ph type="body" sz="quarter" idx="10" hasCustomPrompt="1"/>
          </p:nvPr>
        </p:nvSpPr>
        <p:spPr>
          <a:xfrm>
            <a:off x="2997482" y="2138049"/>
            <a:ext cx="6203950" cy="1933154"/>
          </a:xfrm>
          <a:prstGeom prst="rect">
            <a:avLst/>
          </a:prstGeom>
        </p:spPr>
        <p:txBody>
          <a:bodyPr anchor="ctr"/>
          <a:lstStyle>
            <a:lvl1pPr marL="0" indent="0" algn="ctr">
              <a:buNone/>
              <a:defRPr sz="5400">
                <a:solidFill>
                  <a:schemeClr val="bg1"/>
                </a:solidFill>
                <a:latin typeface="Torque Book" panose="020B0503030202050203" pitchFamily="34" charset="77"/>
                <a:cs typeface="Arial" panose="020B0604020202020204" pitchFamily="34" charset="0"/>
              </a:defRPr>
            </a:lvl1pPr>
          </a:lstStyle>
          <a:p>
            <a:pPr lvl="0"/>
            <a:r>
              <a:rPr lang="en-US"/>
              <a:t>INSERT SECTION</a:t>
            </a:r>
            <a:br>
              <a:rPr lang="en-US"/>
            </a:br>
            <a:r>
              <a:rPr lang="en-US"/>
              <a:t>TITLE HERE</a:t>
            </a:r>
          </a:p>
        </p:txBody>
      </p:sp>
      <p:sp>
        <p:nvSpPr>
          <p:cNvPr id="3" name="Text Placeholder 10">
            <a:extLst>
              <a:ext uri="{FF2B5EF4-FFF2-40B4-BE49-F238E27FC236}">
                <a16:creationId xmlns:a16="http://schemas.microsoft.com/office/drawing/2014/main" id="{470AEB01-27DF-384A-B2CA-C57A4CAF7784}"/>
              </a:ext>
            </a:extLst>
          </p:cNvPr>
          <p:cNvSpPr>
            <a:spLocks noGrp="1"/>
          </p:cNvSpPr>
          <p:nvPr>
            <p:ph type="body" sz="quarter" idx="11" hasCustomPrompt="1"/>
          </p:nvPr>
        </p:nvSpPr>
        <p:spPr>
          <a:xfrm>
            <a:off x="2997482" y="6169308"/>
            <a:ext cx="6203950" cy="337293"/>
          </a:xfrm>
          <a:prstGeom prst="rect">
            <a:avLst/>
          </a:prstGeom>
        </p:spPr>
        <p:txBody>
          <a:bodyPr anchor="ctr"/>
          <a:lstStyle>
            <a:lvl1pPr marL="0" indent="0" algn="ctr">
              <a:buNone/>
              <a:defRPr sz="1600">
                <a:solidFill>
                  <a:schemeClr val="bg1"/>
                </a:solidFill>
                <a:latin typeface="Torque Book" panose="020B0503030202050203" pitchFamily="34" charset="77"/>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3168428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0F0A30"/>
        </a:solidFill>
        <a:effectLst/>
      </p:bgPr>
    </p:bg>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470AEB01-27DF-384A-B2CA-C57A4CAF7784}"/>
              </a:ext>
            </a:extLst>
          </p:cNvPr>
          <p:cNvSpPr>
            <a:spLocks noGrp="1"/>
          </p:cNvSpPr>
          <p:nvPr>
            <p:ph type="body" sz="quarter" idx="11" hasCustomPrompt="1"/>
          </p:nvPr>
        </p:nvSpPr>
        <p:spPr>
          <a:xfrm>
            <a:off x="702734" y="6169308"/>
            <a:ext cx="6203950" cy="337293"/>
          </a:xfrm>
          <a:prstGeom prst="rect">
            <a:avLst/>
          </a:prstGeom>
        </p:spPr>
        <p:txBody>
          <a:bodyPr anchor="ctr"/>
          <a:lstStyle>
            <a:lvl1pPr marL="0" indent="0" algn="l">
              <a:buNone/>
              <a:defRPr sz="1600">
                <a:solidFill>
                  <a:schemeClr val="bg1"/>
                </a:solidFill>
                <a:latin typeface="Torque Book" panose="020B0503030202050203" pitchFamily="34" charset="77"/>
                <a:cs typeface="Arial" panose="020B0604020202020204" pitchFamily="34" charset="0"/>
              </a:defRPr>
            </a:lvl1pPr>
          </a:lstStyle>
          <a:p>
            <a:pPr lvl="0"/>
            <a:r>
              <a:rPr lang="en-US" err="1"/>
              <a:t>www.teesworks.co.uk</a:t>
            </a:r>
            <a:endParaRPr lang="en-US"/>
          </a:p>
        </p:txBody>
      </p:sp>
      <p:sp>
        <p:nvSpPr>
          <p:cNvPr id="6" name="Title 5">
            <a:extLst>
              <a:ext uri="{FF2B5EF4-FFF2-40B4-BE49-F238E27FC236}">
                <a16:creationId xmlns:a16="http://schemas.microsoft.com/office/drawing/2014/main" id="{92D06468-9E51-AC4E-AAEE-012FE217C2C3}"/>
              </a:ext>
            </a:extLst>
          </p:cNvPr>
          <p:cNvSpPr>
            <a:spLocks noGrp="1"/>
          </p:cNvSpPr>
          <p:nvPr>
            <p:ph type="title" hasCustomPrompt="1"/>
          </p:nvPr>
        </p:nvSpPr>
        <p:spPr>
          <a:xfrm>
            <a:off x="702734" y="2073451"/>
            <a:ext cx="5302955" cy="1325563"/>
          </a:xfrm>
          <a:prstGeom prst="rect">
            <a:avLst/>
          </a:prstGeom>
        </p:spPr>
        <p:txBody>
          <a:bodyPr/>
          <a:lstStyle>
            <a:lvl1pPr marL="0" indent="0">
              <a:lnSpc>
                <a:spcPts val="5200"/>
              </a:lnSpc>
              <a:buNone/>
              <a:defRPr/>
            </a:lvl1pPr>
          </a:lstStyle>
          <a:p>
            <a:pPr marL="0" indent="0">
              <a:lnSpc>
                <a:spcPts val="5200"/>
              </a:lnSpc>
              <a:buNone/>
            </a:pPr>
            <a:r>
              <a:rPr lang="en-GB" sz="4400" spc="50">
                <a:solidFill>
                  <a:schemeClr val="bg1"/>
                </a:solidFill>
                <a:latin typeface="Torque Book" panose="020B0503030202050203" pitchFamily="34" charset="77"/>
              </a:rPr>
              <a:t>THE UK’S LARGEST</a:t>
            </a:r>
            <a:br>
              <a:rPr lang="en-GB" sz="4400" spc="50">
                <a:solidFill>
                  <a:schemeClr val="bg1"/>
                </a:solidFill>
                <a:latin typeface="Torque Book" panose="020B0503030202050203" pitchFamily="34" charset="77"/>
              </a:rPr>
            </a:br>
            <a:r>
              <a:rPr lang="en-GB" sz="4400" spc="50">
                <a:solidFill>
                  <a:schemeClr val="bg1"/>
                </a:solidFill>
                <a:latin typeface="Torque Book" panose="020B0503030202050203" pitchFamily="34" charset="77"/>
              </a:rPr>
              <a:t>INDUSTRIAL ZONE</a:t>
            </a:r>
          </a:p>
        </p:txBody>
      </p:sp>
    </p:spTree>
    <p:extLst>
      <p:ext uri="{BB962C8B-B14F-4D97-AF65-F5344CB8AC3E}">
        <p14:creationId xmlns:p14="http://schemas.microsoft.com/office/powerpoint/2010/main" val="41064288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chemeClr val="bg1"/>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hasCustomPrompt="1"/>
          </p:nvPr>
        </p:nvSpPr>
        <p:spPr>
          <a:xfrm>
            <a:off x="245574" y="289535"/>
            <a:ext cx="6753225" cy="518868"/>
          </a:xfrm>
          <a:prstGeom prst="rect">
            <a:avLst/>
          </a:prstGeom>
        </p:spPr>
        <p:txBody>
          <a:bodyPr/>
          <a:lstStyle>
            <a:lvl1pPr marL="0" indent="0">
              <a:buNone/>
              <a:defRPr sz="3400">
                <a:solidFill>
                  <a:schemeClr val="bg1"/>
                </a:solidFill>
                <a:latin typeface="Torque Book" panose="020B0503030202050203" pitchFamily="34" charset="77"/>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4" y="1321166"/>
            <a:ext cx="5850426" cy="4710270"/>
          </a:xfrm>
          <a:prstGeom prst="rect">
            <a:avLst/>
          </a:prstGeom>
        </p:spPr>
        <p:txBody>
          <a:bodyPr/>
          <a:lstStyle>
            <a:lvl1pPr marL="0" indent="0">
              <a:buNone/>
              <a:defRPr sz="1800" b="0" i="0">
                <a:solidFill>
                  <a:schemeClr val="bg1"/>
                </a:solidFill>
                <a:latin typeface="Neurial Grotesk Light" pitchFamily="2" charset="0"/>
                <a:cs typeface="Arial" panose="020B0604020202020204" pitchFamily="34" charset="0"/>
              </a:defRPr>
            </a:lvl1pPr>
          </a:lstStyle>
          <a:p>
            <a:pPr lvl="0"/>
            <a:r>
              <a:rPr lang="en-US"/>
              <a:t>Insert body…</a:t>
            </a:r>
          </a:p>
        </p:txBody>
      </p:sp>
      <p:sp>
        <p:nvSpPr>
          <p:cNvPr id="8" name="Text Placeholder 4">
            <a:extLst>
              <a:ext uri="{FF2B5EF4-FFF2-40B4-BE49-F238E27FC236}">
                <a16:creationId xmlns:a16="http://schemas.microsoft.com/office/drawing/2014/main" id="{527C11A4-EBCA-4F9A-BF2D-824D46A0A73C}"/>
              </a:ext>
            </a:extLst>
          </p:cNvPr>
          <p:cNvSpPr>
            <a:spLocks noGrp="1"/>
          </p:cNvSpPr>
          <p:nvPr>
            <p:ph type="body" sz="quarter" idx="15" hasCustomPrompt="1"/>
          </p:nvPr>
        </p:nvSpPr>
        <p:spPr>
          <a:xfrm>
            <a:off x="6794270" y="1321166"/>
            <a:ext cx="5083172" cy="4710270"/>
          </a:xfrm>
          <a:prstGeom prst="rect">
            <a:avLst/>
          </a:prstGeom>
        </p:spPr>
        <p:txBody>
          <a:bodyPr/>
          <a:lstStyle>
            <a:lvl1pPr marL="0" indent="0">
              <a:buNone/>
              <a:defRPr sz="1800" b="0" i="0">
                <a:solidFill>
                  <a:schemeClr val="bg1"/>
                </a:solidFill>
                <a:latin typeface="Neurial Grotesk Light" pitchFamily="2"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8638448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rgbClr val="0F0A30"/>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hasCustomPrompt="1"/>
          </p:nvPr>
        </p:nvSpPr>
        <p:spPr>
          <a:xfrm>
            <a:off x="245574" y="289535"/>
            <a:ext cx="6753225" cy="518868"/>
          </a:xfrm>
          <a:prstGeom prst="rect">
            <a:avLst/>
          </a:prstGeom>
        </p:spPr>
        <p:txBody>
          <a:bodyPr/>
          <a:lstStyle>
            <a:lvl1pPr marL="0" indent="0">
              <a:buNone/>
              <a:defRPr sz="3400">
                <a:solidFill>
                  <a:srgbClr val="0F0A30"/>
                </a:solidFill>
                <a:latin typeface="Torque Book" panose="020B0503030202050203" pitchFamily="34" charset="77"/>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3" y="1321166"/>
            <a:ext cx="6753225" cy="518868"/>
          </a:xfrm>
          <a:prstGeom prst="rect">
            <a:avLst/>
          </a:prstGeom>
        </p:spPr>
        <p:txBody>
          <a:bodyPr/>
          <a:lstStyle>
            <a:lvl1pPr marL="0" indent="0">
              <a:buNone/>
              <a:defRPr sz="1800" b="0" i="0">
                <a:solidFill>
                  <a:srgbClr val="0F0A30"/>
                </a:solidFill>
                <a:latin typeface="Neurial Grotesk Light" pitchFamily="2"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32682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chemeClr val="bg1"/>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hasCustomPrompt="1"/>
          </p:nvPr>
        </p:nvSpPr>
        <p:spPr>
          <a:xfrm>
            <a:off x="245574" y="289535"/>
            <a:ext cx="6753225" cy="518868"/>
          </a:xfrm>
          <a:prstGeom prst="rect">
            <a:avLst/>
          </a:prstGeom>
        </p:spPr>
        <p:txBody>
          <a:bodyPr/>
          <a:lstStyle>
            <a:lvl1pPr marL="0" indent="0">
              <a:buNone/>
              <a:defRPr sz="3400">
                <a:solidFill>
                  <a:schemeClr val="bg1"/>
                </a:solidFill>
                <a:latin typeface="Torque Book" panose="020B0503030202050203" pitchFamily="34" charset="77"/>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3" y="1321166"/>
            <a:ext cx="6753225" cy="518868"/>
          </a:xfrm>
          <a:prstGeom prst="rect">
            <a:avLst/>
          </a:prstGeom>
        </p:spPr>
        <p:txBody>
          <a:bodyPr/>
          <a:lstStyle>
            <a:lvl1pPr marL="285750" indent="-285750">
              <a:lnSpc>
                <a:spcPct val="150000"/>
              </a:lnSpc>
              <a:spcBef>
                <a:spcPts val="0"/>
              </a:spcBef>
              <a:buClr>
                <a:srgbClr val="00BDE2"/>
              </a:buClr>
              <a:buFont typeface="Wingdings" pitchFamily="2" charset="2"/>
              <a:buChar char="§"/>
              <a:defRPr sz="1800" b="0" i="0">
                <a:solidFill>
                  <a:schemeClr val="bg1"/>
                </a:solidFill>
                <a:latin typeface="Neurial Grotesk Light" pitchFamily="2"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1259915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XPRESSIVE 10">
    <p:bg>
      <p:bgPr>
        <a:solidFill>
          <a:srgbClr val="FFFFF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39AE97F-08C5-11B1-2EB1-1DFA5E2361CD}"/>
              </a:ext>
            </a:extLst>
          </p:cNvPr>
          <p:cNvSpPr/>
          <p:nvPr userDrawn="1"/>
        </p:nvSpPr>
        <p:spPr>
          <a:xfrm>
            <a:off x="6286501" y="0"/>
            <a:ext cx="5905362" cy="68579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BT Curve" panose="020B0503020203020204" pitchFamily="34" charset="0"/>
            </a:endParaRPr>
          </a:p>
        </p:txBody>
      </p:sp>
      <p:sp>
        <p:nvSpPr>
          <p:cNvPr id="19" name="Title 15">
            <a:extLst>
              <a:ext uri="{FF2B5EF4-FFF2-40B4-BE49-F238E27FC236}">
                <a16:creationId xmlns:a16="http://schemas.microsoft.com/office/drawing/2014/main" id="{FF872486-6E5F-4A93-BF59-FE96F2959969}"/>
              </a:ext>
            </a:extLst>
          </p:cNvPr>
          <p:cNvSpPr>
            <a:spLocks noGrp="1"/>
          </p:cNvSpPr>
          <p:nvPr>
            <p:ph type="title" hasCustomPrompt="1"/>
          </p:nvPr>
        </p:nvSpPr>
        <p:spPr>
          <a:xfrm>
            <a:off x="6651812" y="1739943"/>
            <a:ext cx="5232213" cy="1845939"/>
          </a:xfrm>
          <a:prstGeom prst="rect">
            <a:avLst/>
          </a:prstGeom>
        </p:spPr>
        <p:txBody>
          <a:bodyPr lIns="0" tIns="0" rIns="0" bIns="0" anchor="b">
            <a:noAutofit/>
          </a:bodyPr>
          <a:lstStyle>
            <a:lvl1pPr>
              <a:defRPr kumimoji="0" lang="en-US" sz="4800" b="0" i="0" u="none" strike="noStrike" kern="0" cap="none" spc="-52" normalizeH="0" baseline="0" smtClean="0">
                <a:ln>
                  <a:noFill/>
                </a:ln>
                <a:solidFill>
                  <a:schemeClr val="tx1"/>
                </a:solidFill>
                <a:effectLst/>
                <a:uLnTx/>
                <a:uFillTx/>
                <a:latin typeface="BT Group Headline" panose="020B0603020203020204" pitchFamily="34" charset="0"/>
                <a:ea typeface="+mj-ea"/>
                <a:cs typeface="BT Group Headline" panose="020B0603020203020204" pitchFamily="34" charset="0"/>
              </a:defRPr>
            </a:lvl1pPr>
          </a:lstStyle>
          <a:p>
            <a:r>
              <a:rPr lang="en-US"/>
              <a:t>Click to edit expressive CFU slide</a:t>
            </a:r>
            <a:endParaRPr lang="en-GB"/>
          </a:p>
        </p:txBody>
      </p:sp>
      <p:sp>
        <p:nvSpPr>
          <p:cNvPr id="14" name="Text Placeholder 17">
            <a:extLst>
              <a:ext uri="{FF2B5EF4-FFF2-40B4-BE49-F238E27FC236}">
                <a16:creationId xmlns:a16="http://schemas.microsoft.com/office/drawing/2014/main" id="{D297E749-5185-33FF-FF10-01F1E3B75626}"/>
              </a:ext>
            </a:extLst>
          </p:cNvPr>
          <p:cNvSpPr>
            <a:spLocks noGrp="1"/>
          </p:cNvSpPr>
          <p:nvPr>
            <p:ph type="body" sz="quarter" idx="10" hasCustomPrompt="1"/>
          </p:nvPr>
        </p:nvSpPr>
        <p:spPr>
          <a:xfrm>
            <a:off x="6651812" y="3789343"/>
            <a:ext cx="4469579" cy="1536482"/>
          </a:xfrm>
          <a:prstGeom prst="rect">
            <a:avLst/>
          </a:prstGeom>
        </p:spPr>
        <p:txBody>
          <a:bodyPr vert="horz" lIns="0" tIns="0" rIns="0" bIns="0" rtlCol="0">
            <a:noAutofit/>
          </a:bodyPr>
          <a:lstStyle>
            <a:lvl1pPr>
              <a:defRPr lang="en-US" sz="2000" dirty="0">
                <a:solidFill>
                  <a:schemeClr val="tx1"/>
                </a:solidFill>
                <a:latin typeface="+mj-lt"/>
              </a:defRPr>
            </a:lvl1pPr>
          </a:lstStyle>
          <a:p>
            <a:pPr lvl="0"/>
            <a:r>
              <a:rPr lang="en-US"/>
              <a:t>Click to enter sub heading.</a:t>
            </a:r>
          </a:p>
        </p:txBody>
      </p:sp>
      <p:sp>
        <p:nvSpPr>
          <p:cNvPr id="16" name="Slide Number Placeholder 5">
            <a:extLst>
              <a:ext uri="{FF2B5EF4-FFF2-40B4-BE49-F238E27FC236}">
                <a16:creationId xmlns:a16="http://schemas.microsoft.com/office/drawing/2014/main" id="{825FFF86-B77C-3A4F-0984-15E562057689}"/>
              </a:ext>
            </a:extLst>
          </p:cNvPr>
          <p:cNvSpPr>
            <a:spLocks noGrp="1"/>
          </p:cNvSpPr>
          <p:nvPr>
            <p:ph type="sldNum" sz="quarter" idx="12"/>
          </p:nvPr>
        </p:nvSpPr>
        <p:spPr>
          <a:xfrm>
            <a:off x="11733529" y="308926"/>
            <a:ext cx="365126" cy="203835"/>
          </a:xfrm>
        </p:spPr>
        <p:txBody>
          <a:bodyPr/>
          <a:lstStyle>
            <a:lvl1pPr>
              <a:defRPr b="0" i="0">
                <a:solidFill>
                  <a:schemeClr val="tx1"/>
                </a:solidFill>
                <a:latin typeface="BT Curve" panose="020B0503020203020204" pitchFamily="34" charset="0"/>
              </a:defRPr>
            </a:lvl1pPr>
          </a:lstStyle>
          <a:p>
            <a:fld id="{BC5033AD-2A2E-4B40-820E-C0C238FC5E2C}" type="slidenum">
              <a:rPr lang="en-GB" smtClean="0"/>
              <a:pPr/>
              <a:t>‹#›</a:t>
            </a:fld>
            <a:endParaRPr lang="en-GB"/>
          </a:p>
        </p:txBody>
      </p:sp>
      <p:sp>
        <p:nvSpPr>
          <p:cNvPr id="12" name="Footer Placeholder 4">
            <a:extLst>
              <a:ext uri="{FF2B5EF4-FFF2-40B4-BE49-F238E27FC236}">
                <a16:creationId xmlns:a16="http://schemas.microsoft.com/office/drawing/2014/main" id="{512613F5-4CCF-18F1-66F3-9A7445BA39A5}"/>
              </a:ext>
            </a:extLst>
          </p:cNvPr>
          <p:cNvSpPr>
            <a:spLocks noGrp="1"/>
          </p:cNvSpPr>
          <p:nvPr>
            <p:ph type="ftr" sz="quarter" idx="11"/>
          </p:nvPr>
        </p:nvSpPr>
        <p:spPr>
          <a:xfrm>
            <a:off x="8975724" y="308925"/>
            <a:ext cx="2692399" cy="203835"/>
          </a:xfrm>
        </p:spPr>
        <p:txBody>
          <a:bodyPr/>
          <a:lstStyle>
            <a:lvl1pPr>
              <a:defRPr b="0" i="0">
                <a:solidFill>
                  <a:schemeClr val="tx1"/>
                </a:solidFill>
                <a:latin typeface="BT Curve" panose="020B0503020203020204" pitchFamily="34" charset="0"/>
              </a:defRPr>
            </a:lvl1pPr>
          </a:lstStyle>
          <a:p>
            <a:r>
              <a:rPr lang="en-GB"/>
              <a:t>BT Group PowerPoint    |</a:t>
            </a:r>
          </a:p>
        </p:txBody>
      </p:sp>
      <p:sp>
        <p:nvSpPr>
          <p:cNvPr id="24" name="Rectangle 23">
            <a:extLst>
              <a:ext uri="{FF2B5EF4-FFF2-40B4-BE49-F238E27FC236}">
                <a16:creationId xmlns:a16="http://schemas.microsoft.com/office/drawing/2014/main" id="{76E6BDCC-5994-F2EC-D973-1E8D2220C7D3}"/>
              </a:ext>
            </a:extLst>
          </p:cNvPr>
          <p:cNvSpPr/>
          <p:nvPr userDrawn="1"/>
        </p:nvSpPr>
        <p:spPr>
          <a:xfrm>
            <a:off x="-2" y="1122948"/>
            <a:ext cx="4446357" cy="33628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highlight>
                <a:srgbClr val="7159A3"/>
              </a:highlight>
              <a:latin typeface="BT Curve" panose="020B0503020203020204" pitchFamily="34" charset="0"/>
            </a:endParaRPr>
          </a:p>
        </p:txBody>
      </p:sp>
      <p:sp>
        <p:nvSpPr>
          <p:cNvPr id="25" name="Rectangle 24">
            <a:extLst>
              <a:ext uri="{FF2B5EF4-FFF2-40B4-BE49-F238E27FC236}">
                <a16:creationId xmlns:a16="http://schemas.microsoft.com/office/drawing/2014/main" id="{51EAFBD9-1CBB-875A-6A0D-BB9C2328A56C}"/>
              </a:ext>
            </a:extLst>
          </p:cNvPr>
          <p:cNvSpPr/>
          <p:nvPr userDrawn="1"/>
        </p:nvSpPr>
        <p:spPr>
          <a:xfrm>
            <a:off x="4446355" y="1295400"/>
            <a:ext cx="1840145" cy="3229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highlight>
                <a:srgbClr val="7159A3"/>
              </a:highlight>
              <a:latin typeface="BT Curve" panose="020B0503020203020204" pitchFamily="34" charset="0"/>
            </a:endParaRPr>
          </a:p>
        </p:txBody>
      </p:sp>
      <p:sp>
        <p:nvSpPr>
          <p:cNvPr id="26" name="Picture Placeholder 6">
            <a:extLst>
              <a:ext uri="{FF2B5EF4-FFF2-40B4-BE49-F238E27FC236}">
                <a16:creationId xmlns:a16="http://schemas.microsoft.com/office/drawing/2014/main" id="{A24C24BF-7484-39E4-8F07-7DAFA766C7EB}"/>
              </a:ext>
            </a:extLst>
          </p:cNvPr>
          <p:cNvSpPr>
            <a:spLocks noGrp="1"/>
          </p:cNvSpPr>
          <p:nvPr>
            <p:ph type="pic" sz="quarter" idx="13"/>
          </p:nvPr>
        </p:nvSpPr>
        <p:spPr>
          <a:xfrm>
            <a:off x="0" y="1282065"/>
            <a:ext cx="6286500" cy="5553512"/>
          </a:xfrm>
          <a:custGeom>
            <a:avLst/>
            <a:gdLst>
              <a:gd name="connsiteX0" fmla="*/ 0 w 6286500"/>
              <a:gd name="connsiteY0" fmla="*/ 0 h 5549702"/>
              <a:gd name="connsiteX1" fmla="*/ 6286500 w 6286500"/>
              <a:gd name="connsiteY1" fmla="*/ 0 h 5549702"/>
              <a:gd name="connsiteX2" fmla="*/ 6286500 w 6286500"/>
              <a:gd name="connsiteY2" fmla="*/ 5549702 h 5549702"/>
              <a:gd name="connsiteX3" fmla="*/ 0 w 6286500"/>
              <a:gd name="connsiteY3" fmla="*/ 5549702 h 5549702"/>
              <a:gd name="connsiteX4" fmla="*/ 0 w 6286500"/>
              <a:gd name="connsiteY4" fmla="*/ 0 h 5549702"/>
              <a:gd name="connsiteX0" fmla="*/ 0 w 6286500"/>
              <a:gd name="connsiteY0" fmla="*/ 3810 h 5553512"/>
              <a:gd name="connsiteX1" fmla="*/ 4438650 w 6286500"/>
              <a:gd name="connsiteY1" fmla="*/ 0 h 5553512"/>
              <a:gd name="connsiteX2" fmla="*/ 6286500 w 6286500"/>
              <a:gd name="connsiteY2" fmla="*/ 3810 h 5553512"/>
              <a:gd name="connsiteX3" fmla="*/ 6286500 w 6286500"/>
              <a:gd name="connsiteY3" fmla="*/ 5553512 h 5553512"/>
              <a:gd name="connsiteX4" fmla="*/ 0 w 6286500"/>
              <a:gd name="connsiteY4" fmla="*/ 5553512 h 5553512"/>
              <a:gd name="connsiteX5" fmla="*/ 0 w 6286500"/>
              <a:gd name="connsiteY5" fmla="*/ 3810 h 5553512"/>
              <a:gd name="connsiteX0" fmla="*/ 0 w 6286500"/>
              <a:gd name="connsiteY0" fmla="*/ 3810 h 5553512"/>
              <a:gd name="connsiteX1" fmla="*/ 4438650 w 6286500"/>
              <a:gd name="connsiteY1" fmla="*/ 0 h 5553512"/>
              <a:gd name="connsiteX2" fmla="*/ 6286500 w 6286500"/>
              <a:gd name="connsiteY2" fmla="*/ 3810 h 5553512"/>
              <a:gd name="connsiteX3" fmla="*/ 6284595 w 6286500"/>
              <a:gd name="connsiteY3" fmla="*/ 175260 h 5553512"/>
              <a:gd name="connsiteX4" fmla="*/ 6286500 w 6286500"/>
              <a:gd name="connsiteY4" fmla="*/ 5553512 h 5553512"/>
              <a:gd name="connsiteX5" fmla="*/ 0 w 6286500"/>
              <a:gd name="connsiteY5" fmla="*/ 5553512 h 5553512"/>
              <a:gd name="connsiteX6" fmla="*/ 0 w 6286500"/>
              <a:gd name="connsiteY6" fmla="*/ 3810 h 5553512"/>
              <a:gd name="connsiteX0" fmla="*/ 0 w 6286500"/>
              <a:gd name="connsiteY0" fmla="*/ 3810 h 5553512"/>
              <a:gd name="connsiteX1" fmla="*/ 4438650 w 6286500"/>
              <a:gd name="connsiteY1" fmla="*/ 0 h 5553512"/>
              <a:gd name="connsiteX2" fmla="*/ 4444365 w 6286500"/>
              <a:gd name="connsiteY2" fmla="*/ 173355 h 5553512"/>
              <a:gd name="connsiteX3" fmla="*/ 6284595 w 6286500"/>
              <a:gd name="connsiteY3" fmla="*/ 175260 h 5553512"/>
              <a:gd name="connsiteX4" fmla="*/ 6286500 w 6286500"/>
              <a:gd name="connsiteY4" fmla="*/ 5553512 h 5553512"/>
              <a:gd name="connsiteX5" fmla="*/ 0 w 6286500"/>
              <a:gd name="connsiteY5" fmla="*/ 5553512 h 5553512"/>
              <a:gd name="connsiteX6" fmla="*/ 0 w 6286500"/>
              <a:gd name="connsiteY6" fmla="*/ 3810 h 5553512"/>
              <a:gd name="connsiteX0" fmla="*/ 0 w 6286500"/>
              <a:gd name="connsiteY0" fmla="*/ 3810 h 5553512"/>
              <a:gd name="connsiteX1" fmla="*/ 4446270 w 6286500"/>
              <a:gd name="connsiteY1" fmla="*/ 0 h 5553512"/>
              <a:gd name="connsiteX2" fmla="*/ 4444365 w 6286500"/>
              <a:gd name="connsiteY2" fmla="*/ 173355 h 5553512"/>
              <a:gd name="connsiteX3" fmla="*/ 6284595 w 6286500"/>
              <a:gd name="connsiteY3" fmla="*/ 175260 h 5553512"/>
              <a:gd name="connsiteX4" fmla="*/ 6286500 w 6286500"/>
              <a:gd name="connsiteY4" fmla="*/ 5553512 h 5553512"/>
              <a:gd name="connsiteX5" fmla="*/ 0 w 6286500"/>
              <a:gd name="connsiteY5" fmla="*/ 5553512 h 5553512"/>
              <a:gd name="connsiteX6" fmla="*/ 0 w 6286500"/>
              <a:gd name="connsiteY6" fmla="*/ 3810 h 5553512"/>
              <a:gd name="connsiteX0" fmla="*/ 0 w 6286500"/>
              <a:gd name="connsiteY0" fmla="*/ 3810 h 5553512"/>
              <a:gd name="connsiteX1" fmla="*/ 4446270 w 6286500"/>
              <a:gd name="connsiteY1" fmla="*/ 0 h 5553512"/>
              <a:gd name="connsiteX2" fmla="*/ 4444365 w 6286500"/>
              <a:gd name="connsiteY2" fmla="*/ 171450 h 5553512"/>
              <a:gd name="connsiteX3" fmla="*/ 6284595 w 6286500"/>
              <a:gd name="connsiteY3" fmla="*/ 175260 h 5553512"/>
              <a:gd name="connsiteX4" fmla="*/ 6286500 w 6286500"/>
              <a:gd name="connsiteY4" fmla="*/ 5553512 h 5553512"/>
              <a:gd name="connsiteX5" fmla="*/ 0 w 6286500"/>
              <a:gd name="connsiteY5" fmla="*/ 5553512 h 5553512"/>
              <a:gd name="connsiteX6" fmla="*/ 0 w 6286500"/>
              <a:gd name="connsiteY6" fmla="*/ 3810 h 5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00" h="5553512">
                <a:moveTo>
                  <a:pt x="0" y="3810"/>
                </a:moveTo>
                <a:lnTo>
                  <a:pt x="4446270" y="0"/>
                </a:lnTo>
                <a:lnTo>
                  <a:pt x="4444365" y="171450"/>
                </a:lnTo>
                <a:lnTo>
                  <a:pt x="6284595" y="175260"/>
                </a:lnTo>
                <a:lnTo>
                  <a:pt x="6286500" y="5553512"/>
                </a:lnTo>
                <a:lnTo>
                  <a:pt x="0" y="5553512"/>
                </a:lnTo>
                <a:lnTo>
                  <a:pt x="0" y="3810"/>
                </a:lnTo>
                <a:close/>
              </a:path>
            </a:pathLst>
          </a:custGeom>
          <a:solidFill>
            <a:schemeClr val="bg1">
              <a:lumMod val="95000"/>
            </a:schemeClr>
          </a:solidFill>
        </p:spPr>
        <p:txBody>
          <a:bodyPr/>
          <a:lstStyle>
            <a:lvl1pPr>
              <a:defRPr b="0" i="0">
                <a:latin typeface="BT Group Headline" panose="020B0603020203020204" pitchFamily="34" charset="0"/>
              </a:defRPr>
            </a:lvl1pPr>
          </a:lstStyle>
          <a:p>
            <a:r>
              <a:rPr lang="en-US"/>
              <a:t>Click icon to add picture</a:t>
            </a:r>
            <a:endParaRPr lang="en-GB"/>
          </a:p>
        </p:txBody>
      </p:sp>
      <p:pic>
        <p:nvPicPr>
          <p:cNvPr id="2" name="Picture 1">
            <a:extLst>
              <a:ext uri="{FF2B5EF4-FFF2-40B4-BE49-F238E27FC236}">
                <a16:creationId xmlns:a16="http://schemas.microsoft.com/office/drawing/2014/main" id="{82EACAB2-30E4-1C0C-4E20-BD331F22B6F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46379" y="295285"/>
            <a:ext cx="1537265" cy="511811"/>
          </a:xfrm>
          <a:prstGeom prst="rect">
            <a:avLst/>
          </a:prstGeom>
        </p:spPr>
      </p:pic>
    </p:spTree>
    <p:extLst>
      <p:ext uri="{BB962C8B-B14F-4D97-AF65-F5344CB8AC3E}">
        <p14:creationId xmlns:p14="http://schemas.microsoft.com/office/powerpoint/2010/main" val="663184234"/>
      </p:ext>
    </p:extLst>
  </p:cSld>
  <p:clrMapOvr>
    <a:masterClrMapping/>
  </p:clrMapOvr>
  <mc:AlternateContent xmlns:mc="http://schemas.openxmlformats.org/markup-compatibility/2006">
    <mc:Choice xmlns:p14="http://schemas.microsoft.com/office/powerpoint/2010/main" Requires="p14">
      <p:transition p14:dur="250">
        <p:push dir="u"/>
      </p:transition>
    </mc:Choice>
    <mc:Fallback>
      <p:transition>
        <p:push dir="u"/>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X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9B7AA-3FFC-1E40-6494-3BDBC1EB603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7CB091-F2D9-DDFC-44E5-F2D4B40D651B}"/>
              </a:ext>
            </a:extLst>
          </p:cNvPr>
          <p:cNvSpPr>
            <a:spLocks noGrp="1"/>
          </p:cNvSpPr>
          <p:nvPr>
            <p:ph idx="1"/>
          </p:nvPr>
        </p:nvSpPr>
        <p:spPr>
          <a:xfrm>
            <a:off x="292100" y="2265363"/>
            <a:ext cx="2672800" cy="4079876"/>
          </a:xfrm>
        </p:spPr>
        <p:txBody>
          <a:bodyPr/>
          <a:lstStyle>
            <a:lvl1pPr>
              <a:defRPr b="0" i="0">
                <a:latin typeface="BT Curve" panose="020B0503020203020204" pitchFamily="34" charset="0"/>
              </a:defRPr>
            </a:lvl1pPr>
            <a:lvl2pPr>
              <a:defRPr b="0" i="0">
                <a:latin typeface="BT Curve" panose="020B0503020203020204" pitchFamily="34" charset="0"/>
              </a:defRPr>
            </a:lvl2pPr>
            <a:lvl3pPr>
              <a:defRPr b="0" i="0">
                <a:latin typeface="BT Curve" panose="020B0503020203020204" pitchFamily="34" charset="0"/>
              </a:defRPr>
            </a:lvl3pPr>
            <a:lvl5pPr>
              <a:defRPr b="0" i="0">
                <a:latin typeface="BT Curve" panose="020B050302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3602083C-4A3E-5E9E-C5B2-D0CD0B56F353}"/>
              </a:ext>
            </a:extLst>
          </p:cNvPr>
          <p:cNvSpPr>
            <a:spLocks noGrp="1"/>
          </p:cNvSpPr>
          <p:nvPr>
            <p:ph type="ftr" sz="quarter" idx="11"/>
          </p:nvPr>
        </p:nvSpPr>
        <p:spPr/>
        <p:txBody>
          <a:bodyPr/>
          <a:lstStyle>
            <a:lvl1pPr>
              <a:defRPr b="0" i="0">
                <a:latin typeface="BT Curve" panose="020B0503020203020204" pitchFamily="34" charset="0"/>
              </a:defRPr>
            </a:lvl1pPr>
          </a:lstStyle>
          <a:p>
            <a:r>
              <a:rPr lang="en-GB"/>
              <a:t>BT Group PowerPoint    |</a:t>
            </a:r>
          </a:p>
        </p:txBody>
      </p:sp>
      <p:sp>
        <p:nvSpPr>
          <p:cNvPr id="6" name="Slide Number Placeholder 5">
            <a:extLst>
              <a:ext uri="{FF2B5EF4-FFF2-40B4-BE49-F238E27FC236}">
                <a16:creationId xmlns:a16="http://schemas.microsoft.com/office/drawing/2014/main" id="{6DE9122F-F54E-6073-9BDA-16203A207687}"/>
              </a:ext>
            </a:extLst>
          </p:cNvPr>
          <p:cNvSpPr>
            <a:spLocks noGrp="1"/>
          </p:cNvSpPr>
          <p:nvPr>
            <p:ph type="sldNum" sz="quarter" idx="12"/>
          </p:nvPr>
        </p:nvSpPr>
        <p:spPr/>
        <p:txBody>
          <a:bodyPr/>
          <a:lstStyle>
            <a:lvl1pPr>
              <a:defRPr b="0" i="0">
                <a:latin typeface="BT Curve" panose="020B0503020203020204" pitchFamily="34" charset="0"/>
              </a:defRPr>
            </a:lvl1pPr>
          </a:lstStyle>
          <a:p>
            <a:fld id="{BC5033AD-2A2E-4B40-820E-C0C238FC5E2C}" type="slidenum">
              <a:rPr lang="en-GB" smtClean="0"/>
              <a:pPr/>
              <a:t>‹#›</a:t>
            </a:fld>
            <a:endParaRPr lang="en-GB"/>
          </a:p>
        </p:txBody>
      </p:sp>
      <p:sp>
        <p:nvSpPr>
          <p:cNvPr id="8" name="Content Placeholder 2">
            <a:extLst>
              <a:ext uri="{FF2B5EF4-FFF2-40B4-BE49-F238E27FC236}">
                <a16:creationId xmlns:a16="http://schemas.microsoft.com/office/drawing/2014/main" id="{DFA48EAA-1E7A-4D74-0726-E417D04E58F6}"/>
              </a:ext>
            </a:extLst>
          </p:cNvPr>
          <p:cNvSpPr>
            <a:spLocks noGrp="1"/>
          </p:cNvSpPr>
          <p:nvPr>
            <p:ph idx="13"/>
          </p:nvPr>
        </p:nvSpPr>
        <p:spPr>
          <a:xfrm>
            <a:off x="3270433" y="2265363"/>
            <a:ext cx="2672800" cy="4079876"/>
          </a:xfrm>
        </p:spPr>
        <p:txBody>
          <a:bodyPr/>
          <a:lstStyle>
            <a:lvl1pPr>
              <a:defRPr b="0" i="0">
                <a:latin typeface="BT Curve" panose="020B0503020203020204" pitchFamily="34" charset="0"/>
              </a:defRPr>
            </a:lvl1pPr>
            <a:lvl2pPr>
              <a:defRPr b="0" i="0">
                <a:latin typeface="BT Curve" panose="020B0503020203020204" pitchFamily="34" charset="0"/>
              </a:defRPr>
            </a:lvl2pPr>
            <a:lvl3pPr>
              <a:defRPr b="0" i="0">
                <a:latin typeface="BT Curve" panose="020B0503020203020204" pitchFamily="34" charset="0"/>
              </a:defRPr>
            </a:lvl3pPr>
            <a:lvl5pPr>
              <a:defRPr b="0" i="0">
                <a:latin typeface="BT Curve" panose="020B050302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7BD5D7FB-B866-CD72-E505-569022365D33}"/>
              </a:ext>
            </a:extLst>
          </p:cNvPr>
          <p:cNvSpPr>
            <a:spLocks noGrp="1"/>
          </p:cNvSpPr>
          <p:nvPr>
            <p:ph idx="14"/>
          </p:nvPr>
        </p:nvSpPr>
        <p:spPr>
          <a:xfrm>
            <a:off x="6248766" y="2265363"/>
            <a:ext cx="2672800" cy="4079876"/>
          </a:xfrm>
        </p:spPr>
        <p:txBody>
          <a:bodyPr/>
          <a:lstStyle>
            <a:lvl1pPr>
              <a:defRPr b="0" i="0">
                <a:latin typeface="BT Curve" panose="020B0503020203020204" pitchFamily="34" charset="0"/>
              </a:defRPr>
            </a:lvl1pPr>
            <a:lvl2pPr>
              <a:defRPr b="0" i="0">
                <a:latin typeface="BT Curve" panose="020B0503020203020204" pitchFamily="34" charset="0"/>
              </a:defRPr>
            </a:lvl2pPr>
            <a:lvl3pPr>
              <a:defRPr b="0" i="0">
                <a:latin typeface="BT Curve" panose="020B0503020203020204" pitchFamily="34" charset="0"/>
              </a:defRPr>
            </a:lvl3pPr>
            <a:lvl5pPr>
              <a:defRPr b="0" i="0">
                <a:latin typeface="BT Curve" panose="020B050302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6B1772AF-5F1B-BF20-4DC4-1A61A07EC6FE}"/>
              </a:ext>
            </a:extLst>
          </p:cNvPr>
          <p:cNvSpPr>
            <a:spLocks noGrp="1"/>
          </p:cNvSpPr>
          <p:nvPr>
            <p:ph idx="15"/>
          </p:nvPr>
        </p:nvSpPr>
        <p:spPr>
          <a:xfrm>
            <a:off x="9227100" y="2265363"/>
            <a:ext cx="2672800" cy="4079876"/>
          </a:xfrm>
        </p:spPr>
        <p:txBody>
          <a:bodyPr/>
          <a:lstStyle>
            <a:lvl1pPr>
              <a:defRPr b="0" i="0">
                <a:latin typeface="BT Curve" panose="020B0503020203020204" pitchFamily="34" charset="0"/>
              </a:defRPr>
            </a:lvl1pPr>
            <a:lvl2pPr>
              <a:defRPr b="0" i="0">
                <a:latin typeface="BT Curve" panose="020B0503020203020204" pitchFamily="34" charset="0"/>
              </a:defRPr>
            </a:lvl2pPr>
            <a:lvl3pPr>
              <a:defRPr b="0" i="0">
                <a:latin typeface="BT Curve" panose="020B0503020203020204" pitchFamily="34" charset="0"/>
              </a:defRPr>
            </a:lvl3pPr>
            <a:lvl5pPr>
              <a:defRPr b="0" i="0">
                <a:latin typeface="BT Curve" panose="020B050302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7">
            <a:extLst>
              <a:ext uri="{FF2B5EF4-FFF2-40B4-BE49-F238E27FC236}">
                <a16:creationId xmlns:a16="http://schemas.microsoft.com/office/drawing/2014/main" id="{9667F846-39B1-DDF1-7705-93CD694F8EF3}"/>
              </a:ext>
            </a:extLst>
          </p:cNvPr>
          <p:cNvSpPr>
            <a:spLocks noGrp="1"/>
          </p:cNvSpPr>
          <p:nvPr>
            <p:ph type="body" sz="quarter" idx="10" hasCustomPrompt="1"/>
          </p:nvPr>
        </p:nvSpPr>
        <p:spPr>
          <a:xfrm>
            <a:off x="307975" y="1274128"/>
            <a:ext cx="8667749" cy="821260"/>
          </a:xfrm>
          <a:prstGeom prst="rect">
            <a:avLst/>
          </a:prstGeom>
        </p:spPr>
        <p:txBody>
          <a:bodyPr vert="horz" lIns="0" tIns="0" rIns="0" bIns="0" rtlCol="0">
            <a:noAutofit/>
          </a:bodyPr>
          <a:lstStyle>
            <a:lvl1pPr>
              <a:defRPr lang="en-US" sz="2000" dirty="0">
                <a:latin typeface="+mj-lt"/>
              </a:defRPr>
            </a:lvl1pPr>
          </a:lstStyle>
          <a:p>
            <a:pPr lvl="0"/>
            <a:r>
              <a:rPr lang="en-US"/>
              <a:t>Click to enter sub heading.</a:t>
            </a:r>
          </a:p>
        </p:txBody>
      </p:sp>
    </p:spTree>
    <p:extLst>
      <p:ext uri="{BB962C8B-B14F-4D97-AF65-F5344CB8AC3E}">
        <p14:creationId xmlns:p14="http://schemas.microsoft.com/office/powerpoint/2010/main" val="2054313397"/>
      </p:ext>
    </p:extLst>
  </p:cSld>
  <p:clrMapOvr>
    <a:masterClrMapping/>
  </p:clrMapOvr>
  <mc:AlternateContent xmlns:mc="http://schemas.openxmlformats.org/markup-compatibility/2006">
    <mc:Choice xmlns:p14="http://schemas.microsoft.com/office/powerpoint/2010/main" Requires="p14">
      <p:transition p14:dur="250">
        <p:push dir="u"/>
      </p:transition>
    </mc:Choice>
    <mc:Fallback>
      <p:transition>
        <p:push dir="u"/>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rgundy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3539153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IMAGE 0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29290CD-4CE7-7236-986F-69B69B17A79C}"/>
              </a:ext>
            </a:extLst>
          </p:cNvPr>
          <p:cNvSpPr>
            <a:spLocks noGrp="1"/>
          </p:cNvSpPr>
          <p:nvPr>
            <p:ph type="pic" sz="quarter" idx="13"/>
          </p:nvPr>
        </p:nvSpPr>
        <p:spPr>
          <a:xfrm>
            <a:off x="2" y="0"/>
            <a:ext cx="12191999" cy="6858000"/>
          </a:xfrm>
          <a:custGeom>
            <a:avLst/>
            <a:gdLst>
              <a:gd name="connsiteX0" fmla="*/ 0 w 12191999"/>
              <a:gd name="connsiteY0" fmla="*/ 0 h 6858000"/>
              <a:gd name="connsiteX1" fmla="*/ 445558 w 12191999"/>
              <a:gd name="connsiteY1" fmla="*/ 0 h 6858000"/>
              <a:gd name="connsiteX2" fmla="*/ 445558 w 12191999"/>
              <a:gd name="connsiteY2" fmla="*/ 173355 h 6858000"/>
              <a:gd name="connsiteX3" fmla="*/ 1346349 w 12191999"/>
              <a:gd name="connsiteY3" fmla="*/ 173355 h 6858000"/>
              <a:gd name="connsiteX4" fmla="*/ 1346349 w 12191999"/>
              <a:gd name="connsiteY4" fmla="*/ 0 h 6858000"/>
              <a:gd name="connsiteX5" fmla="*/ 12191999 w 12191999"/>
              <a:gd name="connsiteY5" fmla="*/ 0 h 6858000"/>
              <a:gd name="connsiteX6" fmla="*/ 12191999 w 12191999"/>
              <a:gd name="connsiteY6" fmla="*/ 6858000 h 6858000"/>
              <a:gd name="connsiteX7" fmla="*/ 12191996 w 12191999"/>
              <a:gd name="connsiteY7" fmla="*/ 6858000 h 6858000"/>
              <a:gd name="connsiteX8" fmla="*/ 12191996 w 12191999"/>
              <a:gd name="connsiteY8" fmla="*/ 6417131 h 6858000"/>
              <a:gd name="connsiteX9" fmla="*/ 12018641 w 12191999"/>
              <a:gd name="connsiteY9" fmla="*/ 6417131 h 6858000"/>
              <a:gd name="connsiteX10" fmla="*/ 12018641 w 12191999"/>
              <a:gd name="connsiteY10" fmla="*/ 6858000 h 6858000"/>
              <a:gd name="connsiteX11" fmla="*/ 0 w 12191999"/>
              <a:gd name="connsiteY11" fmla="*/ 6858000 h 6858000"/>
              <a:gd name="connsiteX12" fmla="*/ 0 w 12191999"/>
              <a:gd name="connsiteY12" fmla="*/ 6857999 h 6858000"/>
              <a:gd name="connsiteX13" fmla="*/ 173354 w 12191999"/>
              <a:gd name="connsiteY13" fmla="*/ 6857999 h 6858000"/>
              <a:gd name="connsiteX14" fmla="*/ 173354 w 12191999"/>
              <a:gd name="connsiteY14" fmla="*/ 5084066 h 6858000"/>
              <a:gd name="connsiteX15" fmla="*/ 0 w 12191999"/>
              <a:gd name="connsiteY15" fmla="*/ 50840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9" h="6858000">
                <a:moveTo>
                  <a:pt x="0" y="0"/>
                </a:moveTo>
                <a:lnTo>
                  <a:pt x="445558" y="0"/>
                </a:lnTo>
                <a:lnTo>
                  <a:pt x="445558" y="173355"/>
                </a:lnTo>
                <a:lnTo>
                  <a:pt x="1346349" y="173355"/>
                </a:lnTo>
                <a:lnTo>
                  <a:pt x="1346349" y="0"/>
                </a:lnTo>
                <a:lnTo>
                  <a:pt x="12191999" y="0"/>
                </a:lnTo>
                <a:lnTo>
                  <a:pt x="12191999" y="6858000"/>
                </a:lnTo>
                <a:lnTo>
                  <a:pt x="12191996" y="6858000"/>
                </a:lnTo>
                <a:lnTo>
                  <a:pt x="12191996" y="6417131"/>
                </a:lnTo>
                <a:lnTo>
                  <a:pt x="12018641" y="6417131"/>
                </a:lnTo>
                <a:lnTo>
                  <a:pt x="12018641" y="6858000"/>
                </a:lnTo>
                <a:lnTo>
                  <a:pt x="0" y="6858000"/>
                </a:lnTo>
                <a:lnTo>
                  <a:pt x="0" y="6857999"/>
                </a:lnTo>
                <a:lnTo>
                  <a:pt x="173354" y="6857999"/>
                </a:lnTo>
                <a:lnTo>
                  <a:pt x="173354" y="5084066"/>
                </a:lnTo>
                <a:lnTo>
                  <a:pt x="0" y="5084066"/>
                </a:lnTo>
                <a:close/>
              </a:path>
            </a:pathLst>
          </a:custGeom>
          <a:solidFill>
            <a:schemeClr val="bg1">
              <a:lumMod val="85000"/>
            </a:schemeClr>
          </a:solidFill>
        </p:spPr>
        <p:txBody>
          <a:bodyPr wrap="square">
            <a:noAutofit/>
          </a:bodyPr>
          <a:lstStyle>
            <a:lvl1pPr>
              <a:defRPr b="0" i="0">
                <a:latin typeface="BT Group Headline" panose="020B0603020203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3D990233-9841-5EC7-BF8C-C03D9D0A6976}"/>
              </a:ext>
            </a:extLst>
          </p:cNvPr>
          <p:cNvSpPr>
            <a:spLocks noGrp="1"/>
          </p:cNvSpPr>
          <p:nvPr>
            <p:ph type="title" hasCustomPrompt="1"/>
          </p:nvPr>
        </p:nvSpPr>
        <p:spPr>
          <a:xfrm>
            <a:off x="292099" y="4200243"/>
            <a:ext cx="11591925" cy="962978"/>
          </a:xfrm>
        </p:spPr>
        <p:txBody>
          <a:bodyPr/>
          <a:lstStyle>
            <a:lvl1pPr>
              <a:defRPr sz="7200">
                <a:solidFill>
                  <a:schemeClr val="bg1"/>
                </a:solidFill>
              </a:defRPr>
            </a:lvl1pPr>
          </a:lstStyle>
          <a:p>
            <a:r>
              <a:rPr lang="en-US"/>
              <a:t>Title </a:t>
            </a:r>
            <a:endParaRPr lang="en-GB"/>
          </a:p>
        </p:txBody>
      </p:sp>
      <p:sp>
        <p:nvSpPr>
          <p:cNvPr id="3" name="Footer Placeholder 2">
            <a:extLst>
              <a:ext uri="{FF2B5EF4-FFF2-40B4-BE49-F238E27FC236}">
                <a16:creationId xmlns:a16="http://schemas.microsoft.com/office/drawing/2014/main" id="{65D55859-1A2D-DEA3-2E64-3FE8DD53D157}"/>
              </a:ext>
            </a:extLst>
          </p:cNvPr>
          <p:cNvSpPr>
            <a:spLocks noGrp="1"/>
          </p:cNvSpPr>
          <p:nvPr>
            <p:ph type="ftr" sz="quarter" idx="10"/>
          </p:nvPr>
        </p:nvSpPr>
        <p:spPr/>
        <p:txBody>
          <a:bodyPr/>
          <a:lstStyle>
            <a:lvl1pPr>
              <a:defRPr b="0" i="0">
                <a:solidFill>
                  <a:schemeClr val="bg1"/>
                </a:solidFill>
                <a:latin typeface="BT Curve" panose="020B0503020203020204" pitchFamily="34" charset="0"/>
              </a:defRPr>
            </a:lvl1pPr>
          </a:lstStyle>
          <a:p>
            <a:r>
              <a:rPr lang="en-GB"/>
              <a:t>BT Group PowerPoint    |</a:t>
            </a:r>
          </a:p>
        </p:txBody>
      </p:sp>
      <p:sp>
        <p:nvSpPr>
          <p:cNvPr id="4" name="Slide Number Placeholder 3">
            <a:extLst>
              <a:ext uri="{FF2B5EF4-FFF2-40B4-BE49-F238E27FC236}">
                <a16:creationId xmlns:a16="http://schemas.microsoft.com/office/drawing/2014/main" id="{FF5D5185-0760-370C-20F3-2D24C6CA42EC}"/>
              </a:ext>
            </a:extLst>
          </p:cNvPr>
          <p:cNvSpPr>
            <a:spLocks noGrp="1"/>
          </p:cNvSpPr>
          <p:nvPr>
            <p:ph type="sldNum" sz="quarter" idx="11"/>
          </p:nvPr>
        </p:nvSpPr>
        <p:spPr/>
        <p:txBody>
          <a:bodyPr/>
          <a:lstStyle>
            <a:lvl1pPr>
              <a:defRPr b="0" i="0">
                <a:solidFill>
                  <a:schemeClr val="bg1"/>
                </a:solidFill>
                <a:latin typeface="BT Curve" panose="020B0503020203020204" pitchFamily="34" charset="0"/>
              </a:defRPr>
            </a:lvl1pPr>
          </a:lstStyle>
          <a:p>
            <a:fld id="{7F05727F-EB13-4C36-9A9C-A65743ED0171}" type="slidenum">
              <a:rPr lang="en-GB" smtClean="0"/>
              <a:pPr/>
              <a:t>‹#›</a:t>
            </a:fld>
            <a:endParaRPr lang="en-GB"/>
          </a:p>
        </p:txBody>
      </p:sp>
      <p:sp>
        <p:nvSpPr>
          <p:cNvPr id="10" name="Rectangle 9">
            <a:extLst>
              <a:ext uri="{FF2B5EF4-FFF2-40B4-BE49-F238E27FC236}">
                <a16:creationId xmlns:a16="http://schemas.microsoft.com/office/drawing/2014/main" id="{931A1957-420B-57D4-FDA0-E3D4D294986A}"/>
              </a:ext>
            </a:extLst>
          </p:cNvPr>
          <p:cNvSpPr/>
          <p:nvPr userDrawn="1"/>
        </p:nvSpPr>
        <p:spPr>
          <a:xfrm rot="16200000">
            <a:off x="-800289" y="5884355"/>
            <a:ext cx="1773933" cy="173355"/>
          </a:xfrm>
          <a:prstGeom prst="rect">
            <a:avLst/>
          </a:prstGeom>
          <a:solidFill>
            <a:srgbClr val="EDF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highlight>
                <a:srgbClr val="C0C0C0"/>
              </a:highlight>
              <a:latin typeface="BT Curve" panose="020B0503020203020204" pitchFamily="34" charset="0"/>
            </a:endParaRPr>
          </a:p>
        </p:txBody>
      </p:sp>
      <p:sp>
        <p:nvSpPr>
          <p:cNvPr id="11" name="Rectangle 10">
            <a:extLst>
              <a:ext uri="{FF2B5EF4-FFF2-40B4-BE49-F238E27FC236}">
                <a16:creationId xmlns:a16="http://schemas.microsoft.com/office/drawing/2014/main" id="{AF21C02A-28AF-C4E1-2E0E-EEBF72E9A7D8}"/>
              </a:ext>
            </a:extLst>
          </p:cNvPr>
          <p:cNvSpPr/>
          <p:nvPr userDrawn="1"/>
        </p:nvSpPr>
        <p:spPr>
          <a:xfrm>
            <a:off x="445559" y="0"/>
            <a:ext cx="900790" cy="173355"/>
          </a:xfrm>
          <a:prstGeom prst="rect">
            <a:avLst/>
          </a:prstGeom>
          <a:solidFill>
            <a:srgbClr val="FF8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T Curve" panose="020B0503020203020204" pitchFamily="34" charset="0"/>
            </a:endParaRPr>
          </a:p>
        </p:txBody>
      </p:sp>
      <p:sp>
        <p:nvSpPr>
          <p:cNvPr id="12" name="Rectangle 11">
            <a:extLst>
              <a:ext uri="{FF2B5EF4-FFF2-40B4-BE49-F238E27FC236}">
                <a16:creationId xmlns:a16="http://schemas.microsoft.com/office/drawing/2014/main" id="{F5CA7D1F-F60E-C801-241F-166E2BF4290A}"/>
              </a:ext>
            </a:extLst>
          </p:cNvPr>
          <p:cNvSpPr/>
          <p:nvPr userDrawn="1"/>
        </p:nvSpPr>
        <p:spPr>
          <a:xfrm rot="5400000">
            <a:off x="11877974" y="6557799"/>
            <a:ext cx="454691" cy="1733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T Curve" panose="020B0503020203020204" pitchFamily="34" charset="0"/>
            </a:endParaRPr>
          </a:p>
        </p:txBody>
      </p:sp>
    </p:spTree>
    <p:extLst>
      <p:ext uri="{BB962C8B-B14F-4D97-AF65-F5344CB8AC3E}">
        <p14:creationId xmlns:p14="http://schemas.microsoft.com/office/powerpoint/2010/main" val="2038122067"/>
      </p:ext>
    </p:extLst>
  </p:cSld>
  <p:clrMapOvr>
    <a:masterClrMapping/>
  </p:clrMapOvr>
  <mc:AlternateContent xmlns:mc="http://schemas.openxmlformats.org/markup-compatibility/2006">
    <mc:Choice xmlns:p14="http://schemas.microsoft.com/office/powerpoint/2010/main" Requires="p14">
      <p:transition p14:dur="250">
        <p:push dir="u"/>
      </p:transition>
    </mc:Choice>
    <mc:Fallback>
      <p:transition>
        <p:push dir="u"/>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03">
    <p:bg>
      <p:bgPr>
        <a:solidFill>
          <a:srgbClr val="FFFFFF"/>
        </a:solidFill>
        <a:effectLst/>
      </p:bgPr>
    </p:bg>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C8D13F90-6E0E-B295-7135-69B4796B5C27}"/>
              </a:ext>
            </a:extLst>
          </p:cNvPr>
          <p:cNvSpPr>
            <a:spLocks noGrp="1"/>
          </p:cNvSpPr>
          <p:nvPr>
            <p:ph type="title"/>
          </p:nvPr>
        </p:nvSpPr>
        <p:spPr>
          <a:xfrm>
            <a:off x="307976" y="2854960"/>
            <a:ext cx="5788024" cy="2441660"/>
          </a:xfrm>
          <a:prstGeom prst="rect">
            <a:avLst/>
          </a:prstGeom>
        </p:spPr>
        <p:txBody>
          <a:bodyPr lIns="0" tIns="0" rIns="0" bIns="0" anchor="t">
            <a:noAutofit/>
          </a:bodyPr>
          <a:lstStyle>
            <a:lvl1pPr>
              <a:defRPr kumimoji="0" lang="en-US" sz="5400" b="0" i="0" u="none" strike="noStrike" kern="0" cap="none" spc="-52" normalizeH="0" baseline="0" smtClean="0">
                <a:ln>
                  <a:noFill/>
                </a:ln>
                <a:solidFill>
                  <a:schemeClr val="tx1"/>
                </a:solidFill>
                <a:effectLst/>
                <a:uLnTx/>
                <a:uFillTx/>
                <a:latin typeface="BT Group Headline" panose="020B0603020203020204" pitchFamily="34" charset="0"/>
                <a:ea typeface="+mj-ea"/>
                <a:cs typeface="BT Group Headline" panose="020B0603020203020204" pitchFamily="34" charset="0"/>
              </a:defRPr>
            </a:lvl1pPr>
          </a:lstStyle>
          <a:p>
            <a:r>
              <a:rPr lang="en-US"/>
              <a:t>Click to edit Master title style</a:t>
            </a:r>
            <a:endParaRPr lang="en-GB"/>
          </a:p>
        </p:txBody>
      </p:sp>
      <p:sp>
        <p:nvSpPr>
          <p:cNvPr id="8" name="Picture Placeholder 6">
            <a:extLst>
              <a:ext uri="{FF2B5EF4-FFF2-40B4-BE49-F238E27FC236}">
                <a16:creationId xmlns:a16="http://schemas.microsoft.com/office/drawing/2014/main" id="{18F8D126-69A5-6338-7867-9DC7D4BF8C72}"/>
              </a:ext>
            </a:extLst>
          </p:cNvPr>
          <p:cNvSpPr>
            <a:spLocks noGrp="1"/>
          </p:cNvSpPr>
          <p:nvPr>
            <p:ph type="pic" sz="quarter" idx="13"/>
          </p:nvPr>
        </p:nvSpPr>
        <p:spPr>
          <a:xfrm>
            <a:off x="6653843" y="0"/>
            <a:ext cx="5538157" cy="6858000"/>
          </a:xfrm>
          <a:prstGeom prst="rect">
            <a:avLst/>
          </a:prstGeom>
          <a:solidFill>
            <a:schemeClr val="bg1">
              <a:lumMod val="85000"/>
            </a:schemeClr>
          </a:solidFill>
        </p:spPr>
        <p:txBody>
          <a:bodyPr/>
          <a:lstStyle>
            <a:lvl1pPr>
              <a:defRPr b="0" i="0">
                <a:solidFill>
                  <a:schemeClr val="bg1"/>
                </a:solidFill>
                <a:latin typeface="BT Group Headline" panose="020B0603020203020204" pitchFamily="34" charset="0"/>
              </a:defRPr>
            </a:lvl1pPr>
          </a:lstStyle>
          <a:p>
            <a:r>
              <a:rPr lang="en-US"/>
              <a:t>Click icon to add picture</a:t>
            </a:r>
            <a:endParaRPr lang="en-GB"/>
          </a:p>
        </p:txBody>
      </p:sp>
      <p:sp>
        <p:nvSpPr>
          <p:cNvPr id="11" name="Rectangle 10">
            <a:extLst>
              <a:ext uri="{FF2B5EF4-FFF2-40B4-BE49-F238E27FC236}">
                <a16:creationId xmlns:a16="http://schemas.microsoft.com/office/drawing/2014/main" id="{F6919694-ABC1-EEDE-5141-BBF2372FC82D}"/>
              </a:ext>
            </a:extLst>
          </p:cNvPr>
          <p:cNvSpPr/>
          <p:nvPr userDrawn="1"/>
        </p:nvSpPr>
        <p:spPr>
          <a:xfrm>
            <a:off x="307975" y="2082800"/>
            <a:ext cx="909320" cy="1825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BT Curve" panose="020B0503020203020204" pitchFamily="34" charset="0"/>
            </a:endParaRPr>
          </a:p>
        </p:txBody>
      </p:sp>
      <p:sp>
        <p:nvSpPr>
          <p:cNvPr id="13" name="Rectangle 12">
            <a:extLst>
              <a:ext uri="{FF2B5EF4-FFF2-40B4-BE49-F238E27FC236}">
                <a16:creationId xmlns:a16="http://schemas.microsoft.com/office/drawing/2014/main" id="{14095336-4EB8-B3F6-5890-047B66F1EA37}"/>
              </a:ext>
            </a:extLst>
          </p:cNvPr>
          <p:cNvSpPr/>
          <p:nvPr userDrawn="1"/>
        </p:nvSpPr>
        <p:spPr>
          <a:xfrm>
            <a:off x="4844415" y="6430485"/>
            <a:ext cx="1809428" cy="1825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BT Curve" panose="020B0503020203020204" pitchFamily="34" charset="0"/>
            </a:endParaRPr>
          </a:p>
        </p:txBody>
      </p:sp>
      <p:sp>
        <p:nvSpPr>
          <p:cNvPr id="18" name="Text Placeholder 17">
            <a:extLst>
              <a:ext uri="{FF2B5EF4-FFF2-40B4-BE49-F238E27FC236}">
                <a16:creationId xmlns:a16="http://schemas.microsoft.com/office/drawing/2014/main" id="{9821840A-C4FC-5666-DFC7-ED2A52DB96E7}"/>
              </a:ext>
            </a:extLst>
          </p:cNvPr>
          <p:cNvSpPr>
            <a:spLocks noGrp="1"/>
          </p:cNvSpPr>
          <p:nvPr>
            <p:ph type="body" sz="quarter" idx="10" hasCustomPrompt="1"/>
          </p:nvPr>
        </p:nvSpPr>
        <p:spPr>
          <a:xfrm>
            <a:off x="307975" y="5503634"/>
            <a:ext cx="5788025" cy="821260"/>
          </a:xfrm>
          <a:prstGeom prst="rect">
            <a:avLst/>
          </a:prstGeom>
        </p:spPr>
        <p:txBody>
          <a:bodyPr vert="horz" lIns="0" tIns="0" rIns="0" bIns="0" rtlCol="0">
            <a:noAutofit/>
          </a:bodyPr>
          <a:lstStyle>
            <a:lvl1pPr>
              <a:defRPr lang="en-US" sz="2000" dirty="0">
                <a:latin typeface="+mj-lt"/>
              </a:defRPr>
            </a:lvl1pPr>
          </a:lstStyle>
          <a:p>
            <a:pPr lvl="0"/>
            <a:r>
              <a:rPr lang="en-US"/>
              <a:t>Click to enter sub heading.</a:t>
            </a:r>
          </a:p>
        </p:txBody>
      </p:sp>
      <p:grpSp>
        <p:nvGrpSpPr>
          <p:cNvPr id="59" name="Group 58">
            <a:extLst>
              <a:ext uri="{FF2B5EF4-FFF2-40B4-BE49-F238E27FC236}">
                <a16:creationId xmlns:a16="http://schemas.microsoft.com/office/drawing/2014/main" id="{A3D16883-AB91-1A99-4DFE-93F05CBA0087}"/>
              </a:ext>
            </a:extLst>
          </p:cNvPr>
          <p:cNvGrpSpPr/>
          <p:nvPr userDrawn="1"/>
        </p:nvGrpSpPr>
        <p:grpSpPr>
          <a:xfrm>
            <a:off x="306070" y="303531"/>
            <a:ext cx="1749975" cy="575048"/>
            <a:chOff x="306070" y="303531"/>
            <a:chExt cx="1749975" cy="575048"/>
          </a:xfrm>
        </p:grpSpPr>
        <p:sp>
          <p:nvSpPr>
            <p:cNvPr id="44" name="Freeform: Shape 43">
              <a:extLst>
                <a:ext uri="{FF2B5EF4-FFF2-40B4-BE49-F238E27FC236}">
                  <a16:creationId xmlns:a16="http://schemas.microsoft.com/office/drawing/2014/main" id="{2704C8CF-C998-7512-27CD-62C1322E6985}"/>
                </a:ext>
              </a:extLst>
            </p:cNvPr>
            <p:cNvSpPr/>
            <p:nvPr/>
          </p:nvSpPr>
          <p:spPr>
            <a:xfrm>
              <a:off x="306070" y="308044"/>
              <a:ext cx="236068" cy="293843"/>
            </a:xfrm>
            <a:custGeom>
              <a:avLst/>
              <a:gdLst>
                <a:gd name="connsiteX0" fmla="*/ 132928 w 236068"/>
                <a:gd name="connsiteY0" fmla="*/ -173 h 293843"/>
                <a:gd name="connsiteX1" fmla="*/ 224557 w 236068"/>
                <a:gd name="connsiteY1" fmla="*/ 74303 h 293843"/>
                <a:gd name="connsiteX2" fmla="*/ 170844 w 236068"/>
                <a:gd name="connsiteY2" fmla="*/ 137947 h 293843"/>
                <a:gd name="connsiteX3" fmla="*/ 235841 w 236068"/>
                <a:gd name="connsiteY3" fmla="*/ 207459 h 293843"/>
                <a:gd name="connsiteX4" fmla="*/ 136539 w 236068"/>
                <a:gd name="connsiteY4" fmla="*/ 293671 h 293843"/>
                <a:gd name="connsiteX5" fmla="*/ -227 w 236068"/>
                <a:gd name="connsiteY5" fmla="*/ 293671 h 293843"/>
                <a:gd name="connsiteX6" fmla="*/ -227 w 236068"/>
                <a:gd name="connsiteY6" fmla="*/ -173 h 293843"/>
                <a:gd name="connsiteX7" fmla="*/ 125255 w 236068"/>
                <a:gd name="connsiteY7" fmla="*/ 119892 h 293843"/>
                <a:gd name="connsiteX8" fmla="*/ 166330 w 236068"/>
                <a:gd name="connsiteY8" fmla="*/ 82428 h 293843"/>
                <a:gd name="connsiteX9" fmla="*/ 125255 w 236068"/>
                <a:gd name="connsiteY9" fmla="*/ 46770 h 293843"/>
                <a:gd name="connsiteX10" fmla="*/ 56195 w 236068"/>
                <a:gd name="connsiteY10" fmla="*/ 46770 h 293843"/>
                <a:gd name="connsiteX11" fmla="*/ 56195 w 236068"/>
                <a:gd name="connsiteY11" fmla="*/ 119892 h 293843"/>
                <a:gd name="connsiteX12" fmla="*/ 130220 w 236068"/>
                <a:gd name="connsiteY12" fmla="*/ 246728 h 293843"/>
                <a:gd name="connsiteX13" fmla="*/ 177614 w 236068"/>
                <a:gd name="connsiteY13" fmla="*/ 206104 h 293843"/>
                <a:gd name="connsiteX14" fmla="*/ 130220 w 236068"/>
                <a:gd name="connsiteY14" fmla="*/ 166835 h 293843"/>
                <a:gd name="connsiteX15" fmla="*/ 56195 w 236068"/>
                <a:gd name="connsiteY15" fmla="*/ 166835 h 293843"/>
                <a:gd name="connsiteX16" fmla="*/ 56195 w 236068"/>
                <a:gd name="connsiteY16" fmla="*/ 247179 h 293843"/>
                <a:gd name="connsiteX17" fmla="*/ 130220 w 236068"/>
                <a:gd name="connsiteY17" fmla="*/ 247179 h 2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68" h="293843">
                  <a:moveTo>
                    <a:pt x="132928" y="-173"/>
                  </a:moveTo>
                  <a:cubicBezTo>
                    <a:pt x="187544" y="-173"/>
                    <a:pt x="224557" y="30069"/>
                    <a:pt x="224557" y="74303"/>
                  </a:cubicBezTo>
                  <a:cubicBezTo>
                    <a:pt x="224557" y="103643"/>
                    <a:pt x="203794" y="127114"/>
                    <a:pt x="170844" y="137947"/>
                  </a:cubicBezTo>
                  <a:cubicBezTo>
                    <a:pt x="211016" y="146975"/>
                    <a:pt x="235841" y="172251"/>
                    <a:pt x="235841" y="207459"/>
                  </a:cubicBezTo>
                  <a:cubicBezTo>
                    <a:pt x="235841" y="258464"/>
                    <a:pt x="195669" y="293671"/>
                    <a:pt x="136539" y="293671"/>
                  </a:cubicBezTo>
                  <a:lnTo>
                    <a:pt x="-227" y="293671"/>
                  </a:lnTo>
                  <a:lnTo>
                    <a:pt x="-227" y="-173"/>
                  </a:lnTo>
                  <a:close/>
                  <a:moveTo>
                    <a:pt x="125255" y="119892"/>
                  </a:moveTo>
                  <a:cubicBezTo>
                    <a:pt x="153691" y="119892"/>
                    <a:pt x="166330" y="102740"/>
                    <a:pt x="166330" y="82428"/>
                  </a:cubicBezTo>
                  <a:cubicBezTo>
                    <a:pt x="166330" y="59859"/>
                    <a:pt x="150983" y="46770"/>
                    <a:pt x="125255" y="46770"/>
                  </a:cubicBezTo>
                  <a:lnTo>
                    <a:pt x="56195" y="46770"/>
                  </a:lnTo>
                  <a:lnTo>
                    <a:pt x="56195" y="119892"/>
                  </a:lnTo>
                  <a:close/>
                  <a:moveTo>
                    <a:pt x="130220" y="246728"/>
                  </a:moveTo>
                  <a:cubicBezTo>
                    <a:pt x="159559" y="246728"/>
                    <a:pt x="177614" y="231381"/>
                    <a:pt x="177614" y="206104"/>
                  </a:cubicBezTo>
                  <a:cubicBezTo>
                    <a:pt x="177614" y="182633"/>
                    <a:pt x="158656" y="166835"/>
                    <a:pt x="130220" y="166835"/>
                  </a:cubicBezTo>
                  <a:lnTo>
                    <a:pt x="56195" y="166835"/>
                  </a:lnTo>
                  <a:lnTo>
                    <a:pt x="56195" y="247179"/>
                  </a:lnTo>
                  <a:lnTo>
                    <a:pt x="130220" y="247179"/>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5" name="Freeform: Shape 44">
              <a:extLst>
                <a:ext uri="{FF2B5EF4-FFF2-40B4-BE49-F238E27FC236}">
                  <a16:creationId xmlns:a16="http://schemas.microsoft.com/office/drawing/2014/main" id="{1424A877-FD28-EC16-831E-F9CCE5E6802F}"/>
                </a:ext>
              </a:extLst>
            </p:cNvPr>
            <p:cNvSpPr/>
            <p:nvPr/>
          </p:nvSpPr>
          <p:spPr>
            <a:xfrm>
              <a:off x="554325" y="308044"/>
              <a:ext cx="242839" cy="293843"/>
            </a:xfrm>
            <a:custGeom>
              <a:avLst/>
              <a:gdLst>
                <a:gd name="connsiteX0" fmla="*/ 150080 w 242839"/>
                <a:gd name="connsiteY0" fmla="*/ 49027 h 293843"/>
                <a:gd name="connsiteX1" fmla="*/ 150080 w 242839"/>
                <a:gd name="connsiteY1" fmla="*/ 293671 h 293843"/>
                <a:gd name="connsiteX2" fmla="*/ 92305 w 242839"/>
                <a:gd name="connsiteY2" fmla="*/ 293671 h 293843"/>
                <a:gd name="connsiteX3" fmla="*/ 92305 w 242839"/>
                <a:gd name="connsiteY3" fmla="*/ 49027 h 293843"/>
                <a:gd name="connsiteX4" fmla="*/ -227 w 242839"/>
                <a:gd name="connsiteY4" fmla="*/ 49027 h 293843"/>
                <a:gd name="connsiteX5" fmla="*/ -227 w 242839"/>
                <a:gd name="connsiteY5" fmla="*/ -173 h 293843"/>
                <a:gd name="connsiteX6" fmla="*/ 242612 w 242839"/>
                <a:gd name="connsiteY6" fmla="*/ -173 h 293843"/>
                <a:gd name="connsiteX7" fmla="*/ 242612 w 242839"/>
                <a:gd name="connsiteY7" fmla="*/ 49027 h 2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39" h="293843">
                  <a:moveTo>
                    <a:pt x="150080" y="49027"/>
                  </a:moveTo>
                  <a:lnTo>
                    <a:pt x="150080" y="293671"/>
                  </a:lnTo>
                  <a:lnTo>
                    <a:pt x="92305" y="293671"/>
                  </a:lnTo>
                  <a:lnTo>
                    <a:pt x="92305" y="49027"/>
                  </a:lnTo>
                  <a:lnTo>
                    <a:pt x="-227" y="49027"/>
                  </a:lnTo>
                  <a:lnTo>
                    <a:pt x="-227" y="-173"/>
                  </a:lnTo>
                  <a:lnTo>
                    <a:pt x="242612" y="-173"/>
                  </a:lnTo>
                  <a:lnTo>
                    <a:pt x="242612" y="49027"/>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6" name="Freeform: Shape 45">
              <a:extLst>
                <a:ext uri="{FF2B5EF4-FFF2-40B4-BE49-F238E27FC236}">
                  <a16:creationId xmlns:a16="http://schemas.microsoft.com/office/drawing/2014/main" id="{29F17501-67A9-7663-3AEC-9B00C686387C}"/>
                </a:ext>
              </a:extLst>
            </p:cNvPr>
            <p:cNvSpPr/>
            <p:nvPr/>
          </p:nvSpPr>
          <p:spPr>
            <a:xfrm>
              <a:off x="877057" y="303531"/>
              <a:ext cx="246901" cy="303774"/>
            </a:xfrm>
            <a:custGeom>
              <a:avLst/>
              <a:gdLst>
                <a:gd name="connsiteX0" fmla="*/ 246223 w 246901"/>
                <a:gd name="connsiteY0" fmla="*/ 298636 h 303774"/>
                <a:gd name="connsiteX1" fmla="*/ 191607 w 246901"/>
                <a:gd name="connsiteY1" fmla="*/ 298636 h 303774"/>
                <a:gd name="connsiteX2" fmla="*/ 191607 w 246901"/>
                <a:gd name="connsiteY2" fmla="*/ 248082 h 303774"/>
                <a:gd name="connsiteX3" fmla="*/ 112165 w 246901"/>
                <a:gd name="connsiteY3" fmla="*/ 303601 h 303774"/>
                <a:gd name="connsiteX4" fmla="*/ -227 w 246901"/>
                <a:gd name="connsiteY4" fmla="*/ 153745 h 303774"/>
                <a:gd name="connsiteX5" fmla="*/ 132477 w 246901"/>
                <a:gd name="connsiteY5" fmla="*/ -173 h 303774"/>
                <a:gd name="connsiteX6" fmla="*/ 239904 w 246901"/>
                <a:gd name="connsiteY6" fmla="*/ 60762 h 303774"/>
                <a:gd name="connsiteX7" fmla="*/ 194315 w 246901"/>
                <a:gd name="connsiteY7" fmla="*/ 89199 h 303774"/>
                <a:gd name="connsiteX8" fmla="*/ 133380 w 246901"/>
                <a:gd name="connsiteY8" fmla="*/ 49929 h 303774"/>
                <a:gd name="connsiteX9" fmla="*/ 59354 w 246901"/>
                <a:gd name="connsiteY9" fmla="*/ 154197 h 303774"/>
                <a:gd name="connsiteX10" fmla="*/ 125706 w 246901"/>
                <a:gd name="connsiteY10" fmla="*/ 253950 h 303774"/>
                <a:gd name="connsiteX11" fmla="*/ 188447 w 246901"/>
                <a:gd name="connsiteY11" fmla="*/ 192112 h 303774"/>
                <a:gd name="connsiteX12" fmla="*/ 147372 w 246901"/>
                <a:gd name="connsiteY12" fmla="*/ 192112 h 303774"/>
                <a:gd name="connsiteX13" fmla="*/ 147372 w 246901"/>
                <a:gd name="connsiteY13" fmla="*/ 143815 h 303774"/>
                <a:gd name="connsiteX14" fmla="*/ 246674 w 246901"/>
                <a:gd name="connsiteY14" fmla="*/ 143815 h 303774"/>
                <a:gd name="connsiteX15" fmla="*/ 246674 w 246901"/>
                <a:gd name="connsiteY15" fmla="*/ 298636 h 30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6901" h="303774">
                  <a:moveTo>
                    <a:pt x="246223" y="298636"/>
                  </a:moveTo>
                  <a:lnTo>
                    <a:pt x="191607" y="298636"/>
                  </a:lnTo>
                  <a:lnTo>
                    <a:pt x="191607" y="248082"/>
                  </a:lnTo>
                  <a:cubicBezTo>
                    <a:pt x="176711" y="285546"/>
                    <a:pt x="150532" y="303601"/>
                    <a:pt x="112165" y="303601"/>
                  </a:cubicBezTo>
                  <a:cubicBezTo>
                    <a:pt x="44910" y="303601"/>
                    <a:pt x="-227" y="243117"/>
                    <a:pt x="-227" y="153745"/>
                  </a:cubicBezTo>
                  <a:cubicBezTo>
                    <a:pt x="-227" y="59859"/>
                    <a:pt x="51229" y="-173"/>
                    <a:pt x="132477" y="-173"/>
                  </a:cubicBezTo>
                  <a:cubicBezTo>
                    <a:pt x="178066" y="-173"/>
                    <a:pt x="213273" y="19687"/>
                    <a:pt x="239904" y="60762"/>
                  </a:cubicBezTo>
                  <a:lnTo>
                    <a:pt x="194315" y="89199"/>
                  </a:lnTo>
                  <a:cubicBezTo>
                    <a:pt x="178066" y="62116"/>
                    <a:pt x="158656" y="49929"/>
                    <a:pt x="133380" y="49929"/>
                  </a:cubicBezTo>
                  <a:cubicBezTo>
                    <a:pt x="89596" y="49929"/>
                    <a:pt x="59354" y="92358"/>
                    <a:pt x="59354" y="154197"/>
                  </a:cubicBezTo>
                  <a:cubicBezTo>
                    <a:pt x="59354" y="213778"/>
                    <a:pt x="86437" y="253950"/>
                    <a:pt x="125706" y="253950"/>
                  </a:cubicBezTo>
                  <a:cubicBezTo>
                    <a:pt x="159108" y="253950"/>
                    <a:pt x="185739" y="227319"/>
                    <a:pt x="188447" y="192112"/>
                  </a:cubicBezTo>
                  <a:lnTo>
                    <a:pt x="147372" y="192112"/>
                  </a:lnTo>
                  <a:lnTo>
                    <a:pt x="147372" y="143815"/>
                  </a:lnTo>
                  <a:lnTo>
                    <a:pt x="246674" y="143815"/>
                  </a:lnTo>
                  <a:lnTo>
                    <a:pt x="246674" y="298636"/>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7" name="Freeform: Shape 46">
              <a:extLst>
                <a:ext uri="{FF2B5EF4-FFF2-40B4-BE49-F238E27FC236}">
                  <a16:creationId xmlns:a16="http://schemas.microsoft.com/office/drawing/2014/main" id="{ABE4C2AA-3368-7BCE-B301-57D8DD718086}"/>
                </a:ext>
              </a:extLst>
            </p:cNvPr>
            <p:cNvSpPr/>
            <p:nvPr/>
          </p:nvSpPr>
          <p:spPr>
            <a:xfrm>
              <a:off x="1148784" y="389743"/>
              <a:ext cx="175133" cy="212596"/>
            </a:xfrm>
            <a:custGeom>
              <a:avLst/>
              <a:gdLst>
                <a:gd name="connsiteX0" fmla="*/ -227 w 175133"/>
                <a:gd name="connsiteY0" fmla="*/ -173 h 212596"/>
                <a:gd name="connsiteX1" fmla="*/ 85985 w 175133"/>
                <a:gd name="connsiteY1" fmla="*/ -173 h 212596"/>
                <a:gd name="connsiteX2" fmla="*/ 85985 w 175133"/>
                <a:gd name="connsiteY2" fmla="*/ 46318 h 212596"/>
                <a:gd name="connsiteX3" fmla="*/ 150983 w 175133"/>
                <a:gd name="connsiteY3" fmla="*/ -173 h 212596"/>
                <a:gd name="connsiteX4" fmla="*/ 174906 w 175133"/>
                <a:gd name="connsiteY4" fmla="*/ -173 h 212596"/>
                <a:gd name="connsiteX5" fmla="*/ 174906 w 175133"/>
                <a:gd name="connsiteY5" fmla="*/ 50832 h 212596"/>
                <a:gd name="connsiteX6" fmla="*/ 141053 w 175133"/>
                <a:gd name="connsiteY6" fmla="*/ 50832 h 212596"/>
                <a:gd name="connsiteX7" fmla="*/ 87791 w 175133"/>
                <a:gd name="connsiteY7" fmla="*/ 96421 h 212596"/>
                <a:gd name="connsiteX8" fmla="*/ 87791 w 175133"/>
                <a:gd name="connsiteY8" fmla="*/ 212424 h 212596"/>
                <a:gd name="connsiteX9" fmla="*/ 31369 w 175133"/>
                <a:gd name="connsiteY9" fmla="*/ 212424 h 212596"/>
                <a:gd name="connsiteX10" fmla="*/ 31369 w 175133"/>
                <a:gd name="connsiteY10" fmla="*/ 44061 h 212596"/>
                <a:gd name="connsiteX11" fmla="*/ -227 w 175133"/>
                <a:gd name="connsiteY11" fmla="*/ 44061 h 21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133" h="212596">
                  <a:moveTo>
                    <a:pt x="-227" y="-173"/>
                  </a:moveTo>
                  <a:lnTo>
                    <a:pt x="85985" y="-173"/>
                  </a:lnTo>
                  <a:lnTo>
                    <a:pt x="85985" y="46318"/>
                  </a:lnTo>
                  <a:cubicBezTo>
                    <a:pt x="96818" y="17430"/>
                    <a:pt x="118936" y="-173"/>
                    <a:pt x="150983" y="-173"/>
                  </a:cubicBezTo>
                  <a:lnTo>
                    <a:pt x="174906" y="-173"/>
                  </a:lnTo>
                  <a:lnTo>
                    <a:pt x="174906" y="50832"/>
                  </a:lnTo>
                  <a:lnTo>
                    <a:pt x="141053" y="50832"/>
                  </a:lnTo>
                  <a:cubicBezTo>
                    <a:pt x="105846" y="50832"/>
                    <a:pt x="87791" y="65727"/>
                    <a:pt x="87791" y="96421"/>
                  </a:cubicBezTo>
                  <a:lnTo>
                    <a:pt x="87791" y="212424"/>
                  </a:lnTo>
                  <a:lnTo>
                    <a:pt x="31369" y="212424"/>
                  </a:lnTo>
                  <a:lnTo>
                    <a:pt x="31369" y="44061"/>
                  </a:lnTo>
                  <a:lnTo>
                    <a:pt x="-227" y="44061"/>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8" name="Freeform: Shape 47">
              <a:extLst>
                <a:ext uri="{FF2B5EF4-FFF2-40B4-BE49-F238E27FC236}">
                  <a16:creationId xmlns:a16="http://schemas.microsoft.com/office/drawing/2014/main" id="{AA37E00A-A19F-61B6-F529-A9DFC6179D97}"/>
                </a:ext>
              </a:extLst>
            </p:cNvPr>
            <p:cNvSpPr/>
            <p:nvPr/>
          </p:nvSpPr>
          <p:spPr>
            <a:xfrm>
              <a:off x="1337007" y="384326"/>
              <a:ext cx="219367" cy="222978"/>
            </a:xfrm>
            <a:custGeom>
              <a:avLst/>
              <a:gdLst>
                <a:gd name="connsiteX0" fmla="*/ -227 w 219367"/>
                <a:gd name="connsiteY0" fmla="*/ 111316 h 222978"/>
                <a:gd name="connsiteX1" fmla="*/ 109457 w 219367"/>
                <a:gd name="connsiteY1" fmla="*/ -173 h 222978"/>
                <a:gd name="connsiteX2" fmla="*/ 219141 w 219367"/>
                <a:gd name="connsiteY2" fmla="*/ 111316 h 222978"/>
                <a:gd name="connsiteX3" fmla="*/ 109457 w 219367"/>
                <a:gd name="connsiteY3" fmla="*/ 222805 h 222978"/>
                <a:gd name="connsiteX4" fmla="*/ -227 w 219367"/>
                <a:gd name="connsiteY4" fmla="*/ 111316 h 222978"/>
                <a:gd name="connsiteX5" fmla="*/ 161816 w 219367"/>
                <a:gd name="connsiteY5" fmla="*/ 111316 h 222978"/>
                <a:gd name="connsiteX6" fmla="*/ 109457 w 219367"/>
                <a:gd name="connsiteY6" fmla="*/ 45867 h 222978"/>
                <a:gd name="connsiteX7" fmla="*/ 57097 w 219367"/>
                <a:gd name="connsiteY7" fmla="*/ 111316 h 222978"/>
                <a:gd name="connsiteX8" fmla="*/ 109457 w 219367"/>
                <a:gd name="connsiteY8" fmla="*/ 176765 h 222978"/>
                <a:gd name="connsiteX9" fmla="*/ 161816 w 219367"/>
                <a:gd name="connsiteY9" fmla="*/ 111316 h 22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367" h="222978">
                  <a:moveTo>
                    <a:pt x="-227" y="111316"/>
                  </a:moveTo>
                  <a:cubicBezTo>
                    <a:pt x="-227" y="44513"/>
                    <a:pt x="44007" y="-173"/>
                    <a:pt x="109457" y="-173"/>
                  </a:cubicBezTo>
                  <a:cubicBezTo>
                    <a:pt x="174906" y="-173"/>
                    <a:pt x="219141" y="44513"/>
                    <a:pt x="219141" y="111316"/>
                  </a:cubicBezTo>
                  <a:cubicBezTo>
                    <a:pt x="219141" y="178119"/>
                    <a:pt x="174906" y="222805"/>
                    <a:pt x="109457" y="222805"/>
                  </a:cubicBezTo>
                  <a:cubicBezTo>
                    <a:pt x="44007" y="222805"/>
                    <a:pt x="-227" y="178119"/>
                    <a:pt x="-227" y="111316"/>
                  </a:cubicBezTo>
                  <a:close/>
                  <a:moveTo>
                    <a:pt x="161816" y="111316"/>
                  </a:moveTo>
                  <a:cubicBezTo>
                    <a:pt x="161816" y="72047"/>
                    <a:pt x="140602" y="45867"/>
                    <a:pt x="109457" y="45867"/>
                  </a:cubicBezTo>
                  <a:cubicBezTo>
                    <a:pt x="78312" y="45867"/>
                    <a:pt x="57097" y="72498"/>
                    <a:pt x="57097" y="111316"/>
                  </a:cubicBezTo>
                  <a:cubicBezTo>
                    <a:pt x="57097" y="150134"/>
                    <a:pt x="78312" y="176765"/>
                    <a:pt x="109457" y="176765"/>
                  </a:cubicBezTo>
                  <a:cubicBezTo>
                    <a:pt x="140602" y="176765"/>
                    <a:pt x="161816" y="150586"/>
                    <a:pt x="161816" y="111316"/>
                  </a:cubicBez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9" name="Freeform: Shape 48">
              <a:extLst>
                <a:ext uri="{FF2B5EF4-FFF2-40B4-BE49-F238E27FC236}">
                  <a16:creationId xmlns:a16="http://schemas.microsoft.com/office/drawing/2014/main" id="{2F10AA66-4EDA-5528-5C7E-B52BB89A9613}"/>
                </a:ext>
              </a:extLst>
            </p:cNvPr>
            <p:cNvSpPr/>
            <p:nvPr/>
          </p:nvSpPr>
          <p:spPr>
            <a:xfrm>
              <a:off x="1584360" y="389743"/>
              <a:ext cx="227943" cy="216659"/>
            </a:xfrm>
            <a:custGeom>
              <a:avLst/>
              <a:gdLst>
                <a:gd name="connsiteX0" fmla="*/ 227265 w 227943"/>
                <a:gd name="connsiteY0" fmla="*/ 212424 h 216659"/>
                <a:gd name="connsiteX1" fmla="*/ 141053 w 227943"/>
                <a:gd name="connsiteY1" fmla="*/ 212424 h 216659"/>
                <a:gd name="connsiteX2" fmla="*/ 141053 w 227943"/>
                <a:gd name="connsiteY2" fmla="*/ 170446 h 216659"/>
                <a:gd name="connsiteX3" fmla="*/ 72444 w 227943"/>
                <a:gd name="connsiteY3" fmla="*/ 216486 h 216659"/>
                <a:gd name="connsiteX4" fmla="*/ -227 w 227943"/>
                <a:gd name="connsiteY4" fmla="*/ 133885 h 216659"/>
                <a:gd name="connsiteX5" fmla="*/ -227 w 227943"/>
                <a:gd name="connsiteY5" fmla="*/ -173 h 216659"/>
                <a:gd name="connsiteX6" fmla="*/ 56195 w 227943"/>
                <a:gd name="connsiteY6" fmla="*/ -173 h 216659"/>
                <a:gd name="connsiteX7" fmla="*/ 56195 w 227943"/>
                <a:gd name="connsiteY7" fmla="*/ 126211 h 216659"/>
                <a:gd name="connsiteX8" fmla="*/ 95013 w 227943"/>
                <a:gd name="connsiteY8" fmla="*/ 169995 h 216659"/>
                <a:gd name="connsiteX9" fmla="*/ 139699 w 227943"/>
                <a:gd name="connsiteY9" fmla="*/ 127114 h 216659"/>
                <a:gd name="connsiteX10" fmla="*/ 139699 w 227943"/>
                <a:gd name="connsiteY10" fmla="*/ -173 h 216659"/>
                <a:gd name="connsiteX11" fmla="*/ 196120 w 227943"/>
                <a:gd name="connsiteY11" fmla="*/ -173 h 216659"/>
                <a:gd name="connsiteX12" fmla="*/ 196120 w 227943"/>
                <a:gd name="connsiteY12" fmla="*/ 167738 h 216659"/>
                <a:gd name="connsiteX13" fmla="*/ 227717 w 227943"/>
                <a:gd name="connsiteY13" fmla="*/ 167738 h 216659"/>
                <a:gd name="connsiteX14" fmla="*/ 227717 w 227943"/>
                <a:gd name="connsiteY14" fmla="*/ 212424 h 21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943" h="216659">
                  <a:moveTo>
                    <a:pt x="227265" y="212424"/>
                  </a:moveTo>
                  <a:lnTo>
                    <a:pt x="141053" y="212424"/>
                  </a:lnTo>
                  <a:lnTo>
                    <a:pt x="141053" y="170446"/>
                  </a:lnTo>
                  <a:cubicBezTo>
                    <a:pt x="127963" y="198883"/>
                    <a:pt x="104040" y="216486"/>
                    <a:pt x="72444" y="216486"/>
                  </a:cubicBezTo>
                  <a:cubicBezTo>
                    <a:pt x="27307" y="216486"/>
                    <a:pt x="-227" y="182182"/>
                    <a:pt x="-227" y="133885"/>
                  </a:cubicBezTo>
                  <a:lnTo>
                    <a:pt x="-227" y="-173"/>
                  </a:lnTo>
                  <a:lnTo>
                    <a:pt x="56195" y="-173"/>
                  </a:lnTo>
                  <a:lnTo>
                    <a:pt x="56195" y="126211"/>
                  </a:lnTo>
                  <a:cubicBezTo>
                    <a:pt x="56195" y="156453"/>
                    <a:pt x="71993" y="169995"/>
                    <a:pt x="95013" y="169995"/>
                  </a:cubicBezTo>
                  <a:cubicBezTo>
                    <a:pt x="119053" y="170130"/>
                    <a:pt x="138846" y="151136"/>
                    <a:pt x="139699" y="127114"/>
                  </a:cubicBezTo>
                  <a:lnTo>
                    <a:pt x="139699" y="-173"/>
                  </a:lnTo>
                  <a:lnTo>
                    <a:pt x="196120" y="-173"/>
                  </a:lnTo>
                  <a:lnTo>
                    <a:pt x="196120" y="167738"/>
                  </a:lnTo>
                  <a:lnTo>
                    <a:pt x="227717" y="167738"/>
                  </a:lnTo>
                  <a:lnTo>
                    <a:pt x="227717" y="212424"/>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50" name="Freeform: Shape 49">
              <a:extLst>
                <a:ext uri="{FF2B5EF4-FFF2-40B4-BE49-F238E27FC236}">
                  <a16:creationId xmlns:a16="http://schemas.microsoft.com/office/drawing/2014/main" id="{FA4C5315-4411-BFE9-D876-1B87346C4C82}"/>
                </a:ext>
              </a:extLst>
            </p:cNvPr>
            <p:cNvSpPr/>
            <p:nvPr/>
          </p:nvSpPr>
          <p:spPr>
            <a:xfrm>
              <a:off x="1814109" y="385229"/>
              <a:ext cx="241936" cy="297003"/>
            </a:xfrm>
            <a:custGeom>
              <a:avLst/>
              <a:gdLst>
                <a:gd name="connsiteX0" fmla="*/ -227 w 241936"/>
                <a:gd name="connsiteY0" fmla="*/ 4341 h 297003"/>
                <a:gd name="connsiteX1" fmla="*/ 85985 w 241936"/>
                <a:gd name="connsiteY1" fmla="*/ 4341 h 297003"/>
                <a:gd name="connsiteX2" fmla="*/ 85985 w 241936"/>
                <a:gd name="connsiteY2" fmla="*/ 44964 h 297003"/>
                <a:gd name="connsiteX3" fmla="*/ 153691 w 241936"/>
                <a:gd name="connsiteY3" fmla="*/ -173 h 297003"/>
                <a:gd name="connsiteX4" fmla="*/ 241709 w 241936"/>
                <a:gd name="connsiteY4" fmla="*/ 110413 h 297003"/>
                <a:gd name="connsiteX5" fmla="*/ 153691 w 241936"/>
                <a:gd name="connsiteY5" fmla="*/ 221000 h 297003"/>
                <a:gd name="connsiteX6" fmla="*/ 87791 w 241936"/>
                <a:gd name="connsiteY6" fmla="*/ 179473 h 297003"/>
                <a:gd name="connsiteX7" fmla="*/ 87791 w 241936"/>
                <a:gd name="connsiteY7" fmla="*/ 296831 h 297003"/>
                <a:gd name="connsiteX8" fmla="*/ 31369 w 241936"/>
                <a:gd name="connsiteY8" fmla="*/ 296831 h 297003"/>
                <a:gd name="connsiteX9" fmla="*/ 31369 w 241936"/>
                <a:gd name="connsiteY9" fmla="*/ 48575 h 297003"/>
                <a:gd name="connsiteX10" fmla="*/ -227 w 241936"/>
                <a:gd name="connsiteY10" fmla="*/ 48575 h 297003"/>
                <a:gd name="connsiteX11" fmla="*/ 184836 w 241936"/>
                <a:gd name="connsiteY11" fmla="*/ 110413 h 297003"/>
                <a:gd name="connsiteX12" fmla="*/ 133831 w 241936"/>
                <a:gd name="connsiteY12" fmla="*/ 45867 h 297003"/>
                <a:gd name="connsiteX13" fmla="*/ 85985 w 241936"/>
                <a:gd name="connsiteY13" fmla="*/ 94615 h 297003"/>
                <a:gd name="connsiteX14" fmla="*/ 85985 w 241936"/>
                <a:gd name="connsiteY14" fmla="*/ 126663 h 297003"/>
                <a:gd name="connsiteX15" fmla="*/ 133831 w 241936"/>
                <a:gd name="connsiteY15" fmla="*/ 175411 h 297003"/>
                <a:gd name="connsiteX16" fmla="*/ 184836 w 241936"/>
                <a:gd name="connsiteY16" fmla="*/ 110413 h 29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936" h="297003">
                  <a:moveTo>
                    <a:pt x="-227" y="4341"/>
                  </a:moveTo>
                  <a:lnTo>
                    <a:pt x="85985" y="4341"/>
                  </a:lnTo>
                  <a:lnTo>
                    <a:pt x="85985" y="44964"/>
                  </a:lnTo>
                  <a:cubicBezTo>
                    <a:pt x="99075" y="16528"/>
                    <a:pt x="122998" y="-173"/>
                    <a:pt x="153691" y="-173"/>
                  </a:cubicBezTo>
                  <a:cubicBezTo>
                    <a:pt x="205148" y="-173"/>
                    <a:pt x="241709" y="45867"/>
                    <a:pt x="241709" y="110413"/>
                  </a:cubicBezTo>
                  <a:cubicBezTo>
                    <a:pt x="241709" y="174960"/>
                    <a:pt x="204696" y="221000"/>
                    <a:pt x="153691" y="221000"/>
                  </a:cubicBezTo>
                  <a:cubicBezTo>
                    <a:pt x="124352" y="221000"/>
                    <a:pt x="101332" y="206104"/>
                    <a:pt x="87791" y="179473"/>
                  </a:cubicBezTo>
                  <a:lnTo>
                    <a:pt x="87791" y="296831"/>
                  </a:lnTo>
                  <a:lnTo>
                    <a:pt x="31369" y="296831"/>
                  </a:lnTo>
                  <a:lnTo>
                    <a:pt x="31369" y="48575"/>
                  </a:lnTo>
                  <a:lnTo>
                    <a:pt x="-227" y="48575"/>
                  </a:lnTo>
                  <a:close/>
                  <a:moveTo>
                    <a:pt x="184836" y="110413"/>
                  </a:moveTo>
                  <a:cubicBezTo>
                    <a:pt x="184836" y="70241"/>
                    <a:pt x="165878" y="45867"/>
                    <a:pt x="133831" y="45867"/>
                  </a:cubicBezTo>
                  <a:cubicBezTo>
                    <a:pt x="105846" y="45867"/>
                    <a:pt x="85985" y="65727"/>
                    <a:pt x="85985" y="94615"/>
                  </a:cubicBezTo>
                  <a:lnTo>
                    <a:pt x="85985" y="126663"/>
                  </a:lnTo>
                  <a:cubicBezTo>
                    <a:pt x="85985" y="155551"/>
                    <a:pt x="105846" y="175411"/>
                    <a:pt x="133831" y="175411"/>
                  </a:cubicBezTo>
                  <a:cubicBezTo>
                    <a:pt x="165878" y="174960"/>
                    <a:pt x="184836" y="150586"/>
                    <a:pt x="184836" y="110413"/>
                  </a:cubicBez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51" name="Freeform: Shape 50">
              <a:extLst>
                <a:ext uri="{FF2B5EF4-FFF2-40B4-BE49-F238E27FC236}">
                  <a16:creationId xmlns:a16="http://schemas.microsoft.com/office/drawing/2014/main" id="{1128F4A9-C4D7-08B5-6DC9-1DFFAA0E7532}"/>
                </a:ext>
              </a:extLst>
            </p:cNvPr>
            <p:cNvSpPr/>
            <p:nvPr/>
          </p:nvSpPr>
          <p:spPr>
            <a:xfrm>
              <a:off x="557033" y="780181"/>
              <a:ext cx="240130" cy="49199"/>
            </a:xfrm>
            <a:custGeom>
              <a:avLst/>
              <a:gdLst>
                <a:gd name="connsiteX0" fmla="*/ 0 w 240130"/>
                <a:gd name="connsiteY0" fmla="*/ 0 h 49199"/>
                <a:gd name="connsiteX1" fmla="*/ 240131 w 240130"/>
                <a:gd name="connsiteY1" fmla="*/ 0 h 49199"/>
                <a:gd name="connsiteX2" fmla="*/ 240131 w 240130"/>
                <a:gd name="connsiteY2" fmla="*/ 49200 h 49199"/>
                <a:gd name="connsiteX3" fmla="*/ 0 w 240130"/>
                <a:gd name="connsiteY3" fmla="*/ 49200 h 49199"/>
              </a:gdLst>
              <a:ahLst/>
              <a:cxnLst>
                <a:cxn ang="0">
                  <a:pos x="connsiteX0" y="connsiteY0"/>
                </a:cxn>
                <a:cxn ang="0">
                  <a:pos x="connsiteX1" y="connsiteY1"/>
                </a:cxn>
                <a:cxn ang="0">
                  <a:pos x="connsiteX2" y="connsiteY2"/>
                </a:cxn>
                <a:cxn ang="0">
                  <a:pos x="connsiteX3" y="connsiteY3"/>
                </a:cxn>
              </a:cxnLst>
              <a:rect l="l" t="t" r="r" b="b"/>
              <a:pathLst>
                <a:path w="240130" h="49199">
                  <a:moveTo>
                    <a:pt x="0" y="0"/>
                  </a:moveTo>
                  <a:lnTo>
                    <a:pt x="240131" y="0"/>
                  </a:lnTo>
                  <a:lnTo>
                    <a:pt x="240131" y="49200"/>
                  </a:lnTo>
                  <a:lnTo>
                    <a:pt x="0" y="49200"/>
                  </a:lnTo>
                  <a:close/>
                </a:path>
              </a:pathLst>
            </a:custGeom>
            <a:solidFill>
              <a:schemeClr val="accent5"/>
            </a:solidFill>
            <a:ln w="4492" cap="flat">
              <a:noFill/>
              <a:prstDash val="solid"/>
              <a:miter/>
            </a:ln>
          </p:spPr>
          <p:txBody>
            <a:bodyPr rtlCol="0" anchor="ctr"/>
            <a:lstStyle/>
            <a:p>
              <a:endParaRPr lang="en-GB" b="0" i="0">
                <a:latin typeface="BT Curve" panose="020B0503020203020204" pitchFamily="34" charset="0"/>
              </a:endParaRPr>
            </a:p>
          </p:txBody>
        </p:sp>
        <p:sp>
          <p:nvSpPr>
            <p:cNvPr id="52" name="Freeform: Shape 51">
              <a:extLst>
                <a:ext uri="{FF2B5EF4-FFF2-40B4-BE49-F238E27FC236}">
                  <a16:creationId xmlns:a16="http://schemas.microsoft.com/office/drawing/2014/main" id="{B5084310-A0A4-5EC8-D0D1-C4318E9E0732}"/>
                </a:ext>
              </a:extLst>
            </p:cNvPr>
            <p:cNvSpPr/>
            <p:nvPr/>
          </p:nvSpPr>
          <p:spPr>
            <a:xfrm>
              <a:off x="306070" y="730981"/>
              <a:ext cx="250963" cy="49199"/>
            </a:xfrm>
            <a:custGeom>
              <a:avLst/>
              <a:gdLst>
                <a:gd name="connsiteX0" fmla="*/ 0 w 250963"/>
                <a:gd name="connsiteY0" fmla="*/ 0 h 49199"/>
                <a:gd name="connsiteX1" fmla="*/ 250964 w 250963"/>
                <a:gd name="connsiteY1" fmla="*/ 0 h 49199"/>
                <a:gd name="connsiteX2" fmla="*/ 250964 w 250963"/>
                <a:gd name="connsiteY2" fmla="*/ 49200 h 49199"/>
                <a:gd name="connsiteX3" fmla="*/ 0 w 250963"/>
                <a:gd name="connsiteY3" fmla="*/ 49200 h 49199"/>
              </a:gdLst>
              <a:ahLst/>
              <a:cxnLst>
                <a:cxn ang="0">
                  <a:pos x="connsiteX0" y="connsiteY0"/>
                </a:cxn>
                <a:cxn ang="0">
                  <a:pos x="connsiteX1" y="connsiteY1"/>
                </a:cxn>
                <a:cxn ang="0">
                  <a:pos x="connsiteX2" y="connsiteY2"/>
                </a:cxn>
                <a:cxn ang="0">
                  <a:pos x="connsiteX3" y="connsiteY3"/>
                </a:cxn>
              </a:cxnLst>
              <a:rect l="l" t="t" r="r" b="b"/>
              <a:pathLst>
                <a:path w="250963" h="49199">
                  <a:moveTo>
                    <a:pt x="0" y="0"/>
                  </a:moveTo>
                  <a:lnTo>
                    <a:pt x="250964" y="0"/>
                  </a:lnTo>
                  <a:lnTo>
                    <a:pt x="250964" y="49200"/>
                  </a:lnTo>
                  <a:lnTo>
                    <a:pt x="0" y="49200"/>
                  </a:lnTo>
                  <a:close/>
                </a:path>
              </a:pathLst>
            </a:custGeom>
            <a:solidFill>
              <a:schemeClr val="accent1"/>
            </a:solidFill>
            <a:ln w="4492" cap="flat">
              <a:noFill/>
              <a:prstDash val="solid"/>
              <a:miter/>
            </a:ln>
          </p:spPr>
          <p:txBody>
            <a:bodyPr rtlCol="0" anchor="ctr"/>
            <a:lstStyle/>
            <a:p>
              <a:endParaRPr lang="en-GB" b="0" i="0">
                <a:latin typeface="BT Curve" panose="020B0503020203020204" pitchFamily="34" charset="0"/>
              </a:endParaRPr>
            </a:p>
          </p:txBody>
        </p:sp>
        <p:sp>
          <p:nvSpPr>
            <p:cNvPr id="53" name="Freeform: Shape 52">
              <a:extLst>
                <a:ext uri="{FF2B5EF4-FFF2-40B4-BE49-F238E27FC236}">
                  <a16:creationId xmlns:a16="http://schemas.microsoft.com/office/drawing/2014/main" id="{EB170361-FAE6-BAFD-9390-B9F847406E08}"/>
                </a:ext>
              </a:extLst>
            </p:cNvPr>
            <p:cNvSpPr/>
            <p:nvPr/>
          </p:nvSpPr>
          <p:spPr>
            <a:xfrm>
              <a:off x="1236351" y="730981"/>
              <a:ext cx="173778" cy="49199"/>
            </a:xfrm>
            <a:custGeom>
              <a:avLst/>
              <a:gdLst>
                <a:gd name="connsiteX0" fmla="*/ 0 w 173778"/>
                <a:gd name="connsiteY0" fmla="*/ 0 h 49199"/>
                <a:gd name="connsiteX1" fmla="*/ 173779 w 173778"/>
                <a:gd name="connsiteY1" fmla="*/ 0 h 49199"/>
                <a:gd name="connsiteX2" fmla="*/ 173779 w 173778"/>
                <a:gd name="connsiteY2" fmla="*/ 49200 h 49199"/>
                <a:gd name="connsiteX3" fmla="*/ 0 w 173778"/>
                <a:gd name="connsiteY3" fmla="*/ 49200 h 49199"/>
              </a:gdLst>
              <a:ahLst/>
              <a:cxnLst>
                <a:cxn ang="0">
                  <a:pos x="connsiteX0" y="connsiteY0"/>
                </a:cxn>
                <a:cxn ang="0">
                  <a:pos x="connsiteX1" y="connsiteY1"/>
                </a:cxn>
                <a:cxn ang="0">
                  <a:pos x="connsiteX2" y="connsiteY2"/>
                </a:cxn>
                <a:cxn ang="0">
                  <a:pos x="connsiteX3" y="connsiteY3"/>
                </a:cxn>
              </a:cxnLst>
              <a:rect l="l" t="t" r="r" b="b"/>
              <a:pathLst>
                <a:path w="173778" h="49199">
                  <a:moveTo>
                    <a:pt x="0" y="0"/>
                  </a:moveTo>
                  <a:lnTo>
                    <a:pt x="173779" y="0"/>
                  </a:lnTo>
                  <a:lnTo>
                    <a:pt x="173779" y="49200"/>
                  </a:lnTo>
                  <a:lnTo>
                    <a:pt x="0" y="49200"/>
                  </a:lnTo>
                  <a:close/>
                </a:path>
              </a:pathLst>
            </a:custGeom>
            <a:solidFill>
              <a:schemeClr val="accent3"/>
            </a:solidFill>
            <a:ln w="4492" cap="flat">
              <a:noFill/>
              <a:prstDash val="solid"/>
              <a:miter/>
            </a:ln>
          </p:spPr>
          <p:txBody>
            <a:bodyPr rtlCol="0" anchor="ctr"/>
            <a:lstStyle/>
            <a:p>
              <a:endParaRPr lang="en-GB" b="0" i="0">
                <a:latin typeface="BT Curve" panose="020B0503020203020204" pitchFamily="34" charset="0"/>
              </a:endParaRPr>
            </a:p>
          </p:txBody>
        </p:sp>
        <p:sp>
          <p:nvSpPr>
            <p:cNvPr id="54" name="Freeform: Shape 53">
              <a:extLst>
                <a:ext uri="{FF2B5EF4-FFF2-40B4-BE49-F238E27FC236}">
                  <a16:creationId xmlns:a16="http://schemas.microsoft.com/office/drawing/2014/main" id="{3A5EF38B-D56C-CE2B-FD4B-96294971A773}"/>
                </a:ext>
              </a:extLst>
            </p:cNvPr>
            <p:cNvSpPr/>
            <p:nvPr/>
          </p:nvSpPr>
          <p:spPr>
            <a:xfrm>
              <a:off x="1410581" y="780181"/>
              <a:ext cx="173778" cy="49199"/>
            </a:xfrm>
            <a:custGeom>
              <a:avLst/>
              <a:gdLst>
                <a:gd name="connsiteX0" fmla="*/ 0 w 173778"/>
                <a:gd name="connsiteY0" fmla="*/ 0 h 49199"/>
                <a:gd name="connsiteX1" fmla="*/ 173779 w 173778"/>
                <a:gd name="connsiteY1" fmla="*/ 0 h 49199"/>
                <a:gd name="connsiteX2" fmla="*/ 173779 w 173778"/>
                <a:gd name="connsiteY2" fmla="*/ 49200 h 49199"/>
                <a:gd name="connsiteX3" fmla="*/ 0 w 173778"/>
                <a:gd name="connsiteY3" fmla="*/ 49200 h 49199"/>
              </a:gdLst>
              <a:ahLst/>
              <a:cxnLst>
                <a:cxn ang="0">
                  <a:pos x="connsiteX0" y="connsiteY0"/>
                </a:cxn>
                <a:cxn ang="0">
                  <a:pos x="connsiteX1" y="connsiteY1"/>
                </a:cxn>
                <a:cxn ang="0">
                  <a:pos x="connsiteX2" y="connsiteY2"/>
                </a:cxn>
                <a:cxn ang="0">
                  <a:pos x="connsiteX3" y="connsiteY3"/>
                </a:cxn>
              </a:cxnLst>
              <a:rect l="l" t="t" r="r" b="b"/>
              <a:pathLst>
                <a:path w="173778" h="49199">
                  <a:moveTo>
                    <a:pt x="0" y="0"/>
                  </a:moveTo>
                  <a:lnTo>
                    <a:pt x="173779" y="0"/>
                  </a:lnTo>
                  <a:lnTo>
                    <a:pt x="173779" y="49200"/>
                  </a:lnTo>
                  <a:lnTo>
                    <a:pt x="0" y="49200"/>
                  </a:lnTo>
                  <a:close/>
                </a:path>
              </a:pathLst>
            </a:custGeom>
            <a:solidFill>
              <a:schemeClr val="tx2"/>
            </a:solidFill>
            <a:ln w="4492" cap="flat">
              <a:noFill/>
              <a:prstDash val="solid"/>
              <a:miter/>
            </a:ln>
          </p:spPr>
          <p:txBody>
            <a:bodyPr rtlCol="0" anchor="ctr"/>
            <a:lstStyle/>
            <a:p>
              <a:endParaRPr lang="en-GB" b="0" i="0">
                <a:latin typeface="BT Curve" panose="020B0503020203020204" pitchFamily="34" charset="0"/>
              </a:endParaRPr>
            </a:p>
          </p:txBody>
        </p:sp>
        <p:sp>
          <p:nvSpPr>
            <p:cNvPr id="55" name="Freeform: Shape 54">
              <a:extLst>
                <a:ext uri="{FF2B5EF4-FFF2-40B4-BE49-F238E27FC236}">
                  <a16:creationId xmlns:a16="http://schemas.microsoft.com/office/drawing/2014/main" id="{C167B2E1-6A55-ABEB-017E-A09541659518}"/>
                </a:ext>
              </a:extLst>
            </p:cNvPr>
            <p:cNvSpPr/>
            <p:nvPr/>
          </p:nvSpPr>
          <p:spPr>
            <a:xfrm>
              <a:off x="1584360" y="829380"/>
              <a:ext cx="227040" cy="49199"/>
            </a:xfrm>
            <a:custGeom>
              <a:avLst/>
              <a:gdLst>
                <a:gd name="connsiteX0" fmla="*/ 0 w 227040"/>
                <a:gd name="connsiteY0" fmla="*/ 0 h 49199"/>
                <a:gd name="connsiteX1" fmla="*/ 227041 w 227040"/>
                <a:gd name="connsiteY1" fmla="*/ 0 h 49199"/>
                <a:gd name="connsiteX2" fmla="*/ 227041 w 227040"/>
                <a:gd name="connsiteY2" fmla="*/ 49200 h 49199"/>
                <a:gd name="connsiteX3" fmla="*/ 0 w 227040"/>
                <a:gd name="connsiteY3" fmla="*/ 49200 h 49199"/>
              </a:gdLst>
              <a:ahLst/>
              <a:cxnLst>
                <a:cxn ang="0">
                  <a:pos x="connsiteX0" y="connsiteY0"/>
                </a:cxn>
                <a:cxn ang="0">
                  <a:pos x="connsiteX1" y="connsiteY1"/>
                </a:cxn>
                <a:cxn ang="0">
                  <a:pos x="connsiteX2" y="connsiteY2"/>
                </a:cxn>
                <a:cxn ang="0">
                  <a:pos x="connsiteX3" y="connsiteY3"/>
                </a:cxn>
              </a:cxnLst>
              <a:rect l="l" t="t" r="r" b="b"/>
              <a:pathLst>
                <a:path w="227040" h="49199">
                  <a:moveTo>
                    <a:pt x="0" y="0"/>
                  </a:moveTo>
                  <a:lnTo>
                    <a:pt x="227041" y="0"/>
                  </a:lnTo>
                  <a:lnTo>
                    <a:pt x="227041" y="49200"/>
                  </a:lnTo>
                  <a:lnTo>
                    <a:pt x="0" y="49200"/>
                  </a:lnTo>
                  <a:close/>
                </a:path>
              </a:pathLst>
            </a:custGeom>
            <a:solidFill>
              <a:schemeClr val="accent4"/>
            </a:solidFill>
            <a:ln w="4492" cap="flat">
              <a:noFill/>
              <a:prstDash val="solid"/>
              <a:miter/>
            </a:ln>
          </p:spPr>
          <p:txBody>
            <a:bodyPr rtlCol="0" anchor="ctr"/>
            <a:lstStyle/>
            <a:p>
              <a:endParaRPr lang="en-GB" b="0" i="0">
                <a:latin typeface="BT Curve" panose="020B0503020203020204" pitchFamily="34" charset="0"/>
              </a:endParaRPr>
            </a:p>
          </p:txBody>
        </p:sp>
        <p:sp>
          <p:nvSpPr>
            <p:cNvPr id="56" name="Freeform: Shape 55">
              <a:extLst>
                <a:ext uri="{FF2B5EF4-FFF2-40B4-BE49-F238E27FC236}">
                  <a16:creationId xmlns:a16="http://schemas.microsoft.com/office/drawing/2014/main" id="{B7641DDD-DF3E-024F-3C86-CC2CE5298CD0}"/>
                </a:ext>
              </a:extLst>
            </p:cNvPr>
            <p:cNvSpPr/>
            <p:nvPr/>
          </p:nvSpPr>
          <p:spPr>
            <a:xfrm>
              <a:off x="1811852" y="780181"/>
              <a:ext cx="235165" cy="49199"/>
            </a:xfrm>
            <a:custGeom>
              <a:avLst/>
              <a:gdLst>
                <a:gd name="connsiteX0" fmla="*/ 0 w 235165"/>
                <a:gd name="connsiteY0" fmla="*/ 0 h 49199"/>
                <a:gd name="connsiteX1" fmla="*/ 235166 w 235165"/>
                <a:gd name="connsiteY1" fmla="*/ 0 h 49199"/>
                <a:gd name="connsiteX2" fmla="*/ 235166 w 235165"/>
                <a:gd name="connsiteY2" fmla="*/ 49200 h 49199"/>
                <a:gd name="connsiteX3" fmla="*/ 0 w 235165"/>
                <a:gd name="connsiteY3" fmla="*/ 49200 h 49199"/>
              </a:gdLst>
              <a:ahLst/>
              <a:cxnLst>
                <a:cxn ang="0">
                  <a:pos x="connsiteX0" y="connsiteY0"/>
                </a:cxn>
                <a:cxn ang="0">
                  <a:pos x="connsiteX1" y="connsiteY1"/>
                </a:cxn>
                <a:cxn ang="0">
                  <a:pos x="connsiteX2" y="connsiteY2"/>
                </a:cxn>
                <a:cxn ang="0">
                  <a:pos x="connsiteX3" y="connsiteY3"/>
                </a:cxn>
              </a:cxnLst>
              <a:rect l="l" t="t" r="r" b="b"/>
              <a:pathLst>
                <a:path w="235165" h="49199">
                  <a:moveTo>
                    <a:pt x="0" y="0"/>
                  </a:moveTo>
                  <a:lnTo>
                    <a:pt x="235166" y="0"/>
                  </a:lnTo>
                  <a:lnTo>
                    <a:pt x="235166" y="49200"/>
                  </a:lnTo>
                  <a:lnTo>
                    <a:pt x="0" y="49200"/>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57" name="Freeform: Shape 56">
              <a:extLst>
                <a:ext uri="{FF2B5EF4-FFF2-40B4-BE49-F238E27FC236}">
                  <a16:creationId xmlns:a16="http://schemas.microsoft.com/office/drawing/2014/main" id="{CF0C0A78-D718-5044-C79C-E6E6B90089B1}"/>
                </a:ext>
              </a:extLst>
            </p:cNvPr>
            <p:cNvSpPr/>
            <p:nvPr/>
          </p:nvSpPr>
          <p:spPr>
            <a:xfrm>
              <a:off x="796713" y="730981"/>
              <a:ext cx="98399" cy="49199"/>
            </a:xfrm>
            <a:custGeom>
              <a:avLst/>
              <a:gdLst>
                <a:gd name="connsiteX0" fmla="*/ 0 w 98399"/>
                <a:gd name="connsiteY0" fmla="*/ 0 h 49199"/>
                <a:gd name="connsiteX1" fmla="*/ 98399 w 98399"/>
                <a:gd name="connsiteY1" fmla="*/ 0 h 49199"/>
                <a:gd name="connsiteX2" fmla="*/ 98399 w 98399"/>
                <a:gd name="connsiteY2" fmla="*/ 49200 h 49199"/>
                <a:gd name="connsiteX3" fmla="*/ 0 w 98399"/>
                <a:gd name="connsiteY3" fmla="*/ 49200 h 49199"/>
              </a:gdLst>
              <a:ahLst/>
              <a:cxnLst>
                <a:cxn ang="0">
                  <a:pos x="connsiteX0" y="connsiteY0"/>
                </a:cxn>
                <a:cxn ang="0">
                  <a:pos x="connsiteX1" y="connsiteY1"/>
                </a:cxn>
                <a:cxn ang="0">
                  <a:pos x="connsiteX2" y="connsiteY2"/>
                </a:cxn>
                <a:cxn ang="0">
                  <a:pos x="connsiteX3" y="connsiteY3"/>
                </a:cxn>
              </a:cxnLst>
              <a:rect l="l" t="t" r="r" b="b"/>
              <a:pathLst>
                <a:path w="98399" h="49199">
                  <a:moveTo>
                    <a:pt x="0" y="0"/>
                  </a:moveTo>
                  <a:lnTo>
                    <a:pt x="98399" y="0"/>
                  </a:lnTo>
                  <a:lnTo>
                    <a:pt x="98399" y="49200"/>
                  </a:lnTo>
                  <a:lnTo>
                    <a:pt x="0" y="49200"/>
                  </a:lnTo>
                  <a:close/>
                </a:path>
              </a:pathLst>
            </a:custGeom>
            <a:solidFill>
              <a:schemeClr val="accent2"/>
            </a:solidFill>
            <a:ln w="4492" cap="flat">
              <a:noFill/>
              <a:prstDash val="solid"/>
              <a:miter/>
            </a:ln>
          </p:spPr>
          <p:txBody>
            <a:bodyPr rtlCol="0" anchor="ctr"/>
            <a:lstStyle/>
            <a:p>
              <a:endParaRPr lang="en-GB" b="0" i="0">
                <a:latin typeface="BT Curve" panose="020B0503020203020204" pitchFamily="34" charset="0"/>
              </a:endParaRPr>
            </a:p>
          </p:txBody>
        </p:sp>
        <p:sp>
          <p:nvSpPr>
            <p:cNvPr id="58" name="Freeform: Shape 57">
              <a:extLst>
                <a:ext uri="{FF2B5EF4-FFF2-40B4-BE49-F238E27FC236}">
                  <a16:creationId xmlns:a16="http://schemas.microsoft.com/office/drawing/2014/main" id="{0CFAF720-BA85-6BD4-F5BE-B4F515FF94E3}"/>
                </a:ext>
              </a:extLst>
            </p:cNvPr>
            <p:cNvSpPr/>
            <p:nvPr/>
          </p:nvSpPr>
          <p:spPr>
            <a:xfrm>
              <a:off x="895112" y="780181"/>
              <a:ext cx="341238" cy="49199"/>
            </a:xfrm>
            <a:custGeom>
              <a:avLst/>
              <a:gdLst>
                <a:gd name="connsiteX0" fmla="*/ 0 w 341238"/>
                <a:gd name="connsiteY0" fmla="*/ 0 h 49199"/>
                <a:gd name="connsiteX1" fmla="*/ 341239 w 341238"/>
                <a:gd name="connsiteY1" fmla="*/ 0 h 49199"/>
                <a:gd name="connsiteX2" fmla="*/ 341239 w 341238"/>
                <a:gd name="connsiteY2" fmla="*/ 49200 h 49199"/>
                <a:gd name="connsiteX3" fmla="*/ 0 w 341238"/>
                <a:gd name="connsiteY3" fmla="*/ 49200 h 49199"/>
              </a:gdLst>
              <a:ahLst/>
              <a:cxnLst>
                <a:cxn ang="0">
                  <a:pos x="connsiteX0" y="connsiteY0"/>
                </a:cxn>
                <a:cxn ang="0">
                  <a:pos x="connsiteX1" y="connsiteY1"/>
                </a:cxn>
                <a:cxn ang="0">
                  <a:pos x="connsiteX2" y="connsiteY2"/>
                </a:cxn>
                <a:cxn ang="0">
                  <a:pos x="connsiteX3" y="connsiteY3"/>
                </a:cxn>
              </a:cxnLst>
              <a:rect l="l" t="t" r="r" b="b"/>
              <a:pathLst>
                <a:path w="341238" h="49199">
                  <a:moveTo>
                    <a:pt x="0" y="0"/>
                  </a:moveTo>
                  <a:lnTo>
                    <a:pt x="341239" y="0"/>
                  </a:lnTo>
                  <a:lnTo>
                    <a:pt x="341239" y="49200"/>
                  </a:lnTo>
                  <a:lnTo>
                    <a:pt x="0" y="49200"/>
                  </a:lnTo>
                  <a:close/>
                </a:path>
              </a:pathLst>
            </a:custGeom>
            <a:solidFill>
              <a:schemeClr val="accent6"/>
            </a:solidFill>
            <a:ln w="4492" cap="flat">
              <a:noFill/>
              <a:prstDash val="solid"/>
              <a:miter/>
            </a:ln>
          </p:spPr>
          <p:txBody>
            <a:bodyPr rtlCol="0" anchor="ctr"/>
            <a:lstStyle/>
            <a:p>
              <a:endParaRPr lang="en-GB" b="0" i="0">
                <a:latin typeface="BT Curve" panose="020B0503020203020204" pitchFamily="34" charset="0"/>
              </a:endParaRPr>
            </a:p>
          </p:txBody>
        </p:sp>
      </p:grpSp>
    </p:spTree>
    <p:extLst>
      <p:ext uri="{BB962C8B-B14F-4D97-AF65-F5344CB8AC3E}">
        <p14:creationId xmlns:p14="http://schemas.microsoft.com/office/powerpoint/2010/main" val="1863640645"/>
      </p:ext>
    </p:extLst>
  </p:cSld>
  <p:clrMapOvr>
    <a:masterClrMapping/>
  </p:clrMapOvr>
  <mc:AlternateContent xmlns:mc="http://schemas.openxmlformats.org/markup-compatibility/2006">
    <mc:Choice xmlns:p14="http://schemas.microsoft.com/office/powerpoint/2010/main" Requires="p14">
      <p:transition p14:dur="250">
        <p:push dir="u"/>
      </p:transition>
    </mc:Choice>
    <mc:Fallback>
      <p:transition>
        <p:push dir="u"/>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rgundy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657200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rgundy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1632571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rgundy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panose="02000503000000020004" pitchFamily="2" charset="0"/>
                <a:ea typeface="Inter"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140319993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2.xml"/><Relationship Id="rId5" Type="http://schemas.openxmlformats.org/officeDocument/2006/relationships/slideLayout" Target="../slideLayouts/slideLayout51.xml"/><Relationship Id="rId4"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theme" Target="../theme/theme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60.xml"/><Relationship Id="rId7" Type="http://schemas.openxmlformats.org/officeDocument/2006/relationships/oleObject" Target="../embeddings/oleObject1.bin"/><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tags" Target="../tags/tag1.xml"/><Relationship Id="rId5" Type="http://schemas.openxmlformats.org/officeDocument/2006/relationships/theme" Target="../theme/theme4.xml"/><Relationship Id="rId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4434371"/>
      </p:ext>
    </p:extLst>
  </p:cSld>
  <p:clrMap bg1="lt1" tx1="dk1" bg2="lt2" tx2="dk2" accent1="accent1" accent2="accent2" accent3="accent3" accent4="accent4" accent5="accent5" accent6="accent6" hlink="hlink" folHlink="folHlink"/>
  <p:sldLayoutIdLst>
    <p:sldLayoutId id="2147483827" r:id="rId1"/>
    <p:sldLayoutId id="2147483705" r:id="rId2"/>
    <p:sldLayoutId id="2147483706" r:id="rId3"/>
    <p:sldLayoutId id="2147483829" r:id="rId4"/>
    <p:sldLayoutId id="2147483649" r:id="rId5"/>
    <p:sldLayoutId id="2147483830" r:id="rId6"/>
    <p:sldLayoutId id="2147483831" r:id="rId7"/>
    <p:sldLayoutId id="2147483832" r:id="rId8"/>
    <p:sldLayoutId id="2147483833" r:id="rId9"/>
    <p:sldLayoutId id="214748370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 id="2147483693" r:id="rId36"/>
    <p:sldLayoutId id="2147483694" r:id="rId37"/>
    <p:sldLayoutId id="2147483695" r:id="rId38"/>
    <p:sldLayoutId id="2147483696" r:id="rId39"/>
    <p:sldLayoutId id="2147483697" r:id="rId40"/>
    <p:sldLayoutId id="2147483698" r:id="rId41"/>
    <p:sldLayoutId id="2147483699" r:id="rId42"/>
    <p:sldLayoutId id="2147483704" r:id="rId43"/>
    <p:sldLayoutId id="2147483700" r:id="rId44"/>
    <p:sldLayoutId id="2147483701" r:id="rId45"/>
    <p:sldLayoutId id="2147483828" r:id="rId4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1791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13379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2"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3353D-48E3-1BD9-7D4A-46F913655D8B}"/>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3" name="Object 2" hidden="1">
                        <a:extLst>
                          <a:ext uri="{FF2B5EF4-FFF2-40B4-BE49-F238E27FC236}">
                            <a16:creationId xmlns:a16="http://schemas.microsoft.com/office/drawing/2014/main" id="{7CD3353D-48E3-1BD9-7D4A-46F913655D8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Placeholder 3">
            <a:extLst>
              <a:ext uri="{FF2B5EF4-FFF2-40B4-BE49-F238E27FC236}">
                <a16:creationId xmlns:a16="http://schemas.microsoft.com/office/drawing/2014/main" id="{208AA4D5-C6C5-15A0-5119-7736F3349323}"/>
              </a:ext>
            </a:extLst>
          </p:cNvPr>
          <p:cNvSpPr>
            <a:spLocks noGrp="1"/>
          </p:cNvSpPr>
          <p:nvPr>
            <p:ph type="title"/>
          </p:nvPr>
        </p:nvSpPr>
        <p:spPr>
          <a:xfrm>
            <a:off x="292099" y="311150"/>
            <a:ext cx="11591925" cy="962978"/>
          </a:xfrm>
          <a:prstGeom prst="rect">
            <a:avLst/>
          </a:prstGeom>
        </p:spPr>
        <p:txBody>
          <a:bodyPr vert="horz" lIns="0" tIns="0" rIns="0" bIns="0" rtlCol="0" anchor="t">
            <a:noAutofit/>
          </a:bodyPr>
          <a:lstStyle/>
          <a:p>
            <a:r>
              <a:rPr lang="en-US"/>
              <a:t>Click to edit Master title style</a:t>
            </a:r>
            <a:endParaRPr lang="en-GB"/>
          </a:p>
        </p:txBody>
      </p:sp>
      <p:sp>
        <p:nvSpPr>
          <p:cNvPr id="5" name="Text Placeholder 4">
            <a:extLst>
              <a:ext uri="{FF2B5EF4-FFF2-40B4-BE49-F238E27FC236}">
                <a16:creationId xmlns:a16="http://schemas.microsoft.com/office/drawing/2014/main" id="{DE43B3D2-490E-4E42-EBB8-C672F29F1979}"/>
              </a:ext>
            </a:extLst>
          </p:cNvPr>
          <p:cNvSpPr>
            <a:spLocks noGrp="1"/>
          </p:cNvSpPr>
          <p:nvPr>
            <p:ph type="body" idx="1"/>
          </p:nvPr>
        </p:nvSpPr>
        <p:spPr>
          <a:xfrm>
            <a:off x="292100" y="2265363"/>
            <a:ext cx="11591924" cy="4079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5AD621AC-570D-7CD6-AFE9-FEB9A35ED2D8}"/>
              </a:ext>
            </a:extLst>
          </p:cNvPr>
          <p:cNvSpPr>
            <a:spLocks noGrp="1"/>
          </p:cNvSpPr>
          <p:nvPr>
            <p:ph type="ftr" sz="quarter" idx="3"/>
          </p:nvPr>
        </p:nvSpPr>
        <p:spPr>
          <a:xfrm>
            <a:off x="8975724" y="308925"/>
            <a:ext cx="2692399" cy="203835"/>
          </a:xfrm>
          <a:prstGeom prst="rect">
            <a:avLst/>
          </a:prstGeom>
        </p:spPr>
        <p:txBody>
          <a:bodyPr vert="horz" lIns="0" tIns="0" rIns="0" bIns="0" rtlCol="0" anchor="t">
            <a:noAutofit/>
          </a:bodyPr>
          <a:lstStyle>
            <a:lvl1pPr algn="r">
              <a:defRPr sz="1000" b="0" i="0">
                <a:solidFill>
                  <a:schemeClr val="tx1"/>
                </a:solidFill>
                <a:latin typeface="BT Curve" panose="020B0503020203020204" pitchFamily="34" charset="0"/>
              </a:defRPr>
            </a:lvl1pPr>
          </a:lstStyle>
          <a:p>
            <a:r>
              <a:rPr lang="en-GB"/>
              <a:t>BT Group PowerPoint    |</a:t>
            </a:r>
          </a:p>
        </p:txBody>
      </p:sp>
      <p:sp>
        <p:nvSpPr>
          <p:cNvPr id="7" name="Slide Number Placeholder 6">
            <a:extLst>
              <a:ext uri="{FF2B5EF4-FFF2-40B4-BE49-F238E27FC236}">
                <a16:creationId xmlns:a16="http://schemas.microsoft.com/office/drawing/2014/main" id="{B03BBEC2-6595-EB8F-7304-D44D9B4C62B0}"/>
              </a:ext>
            </a:extLst>
          </p:cNvPr>
          <p:cNvSpPr>
            <a:spLocks noGrp="1"/>
          </p:cNvSpPr>
          <p:nvPr>
            <p:ph type="sldNum" sz="quarter" idx="4"/>
          </p:nvPr>
        </p:nvSpPr>
        <p:spPr>
          <a:xfrm>
            <a:off x="11733529" y="308926"/>
            <a:ext cx="365126" cy="203835"/>
          </a:xfrm>
          <a:prstGeom prst="rect">
            <a:avLst/>
          </a:prstGeom>
        </p:spPr>
        <p:txBody>
          <a:bodyPr vert="horz" lIns="0" tIns="0" rIns="0" bIns="0" rtlCol="0" anchor="t">
            <a:noAutofit/>
          </a:bodyPr>
          <a:lstStyle>
            <a:lvl1pPr algn="l">
              <a:defRPr sz="1000" b="0" i="0">
                <a:solidFill>
                  <a:schemeClr val="tx1"/>
                </a:solidFill>
                <a:latin typeface="BT Curve" panose="020B0503020203020204" pitchFamily="34" charset="0"/>
              </a:defRPr>
            </a:lvl1pPr>
          </a:lstStyle>
          <a:p>
            <a:fld id="{7F05727F-EB13-4C36-9A9C-A65743ED0171}" type="slidenum">
              <a:rPr lang="en-GB" smtClean="0"/>
              <a:pPr/>
              <a:t>‹#›</a:t>
            </a:fld>
            <a:endParaRPr lang="en-GB"/>
          </a:p>
        </p:txBody>
      </p:sp>
    </p:spTree>
    <p:extLst>
      <p:ext uri="{BB962C8B-B14F-4D97-AF65-F5344CB8AC3E}">
        <p14:creationId xmlns:p14="http://schemas.microsoft.com/office/powerpoint/2010/main" val="4289227864"/>
      </p:ext>
    </p:extLst>
  </p:cSld>
  <p:clrMap bg1="lt1" tx1="dk1" bg2="lt2" tx2="dk2" accent1="accent1" accent2="accent2" accent3="accent3" accent4="accent4" accent5="accent5" accent6="accent6" hlink="hlink" folHlink="folHlink"/>
  <p:sldLayoutIdLst>
    <p:sldLayoutId id="2147483729" r:id="rId1"/>
    <p:sldLayoutId id="2147483790" r:id="rId2"/>
    <p:sldLayoutId id="2147483799" r:id="rId3"/>
    <p:sldLayoutId id="2147483733" r:id="rId4"/>
  </p:sldLayoutIdLst>
  <mc:AlternateContent xmlns:mc="http://schemas.openxmlformats.org/markup-compatibility/2006">
    <mc:Choice xmlns:p14="http://schemas.microsoft.com/office/powerpoint/2010/main" Requires="p14">
      <p:transition p14:dur="250">
        <p:push dir="u"/>
      </p:transition>
    </mc:Choice>
    <mc:Fallback>
      <p:transition>
        <p:push dir="u"/>
      </p:transition>
    </mc:Fallback>
  </mc:AlternateContent>
  <p:hf hdr="0" dt="0"/>
  <p:txStyles>
    <p:titleStyle>
      <a:lvl1pPr algn="l" defTabSz="5545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0" indent="0" algn="l" defTabSz="554500" rtl="0" eaLnBrk="1" latinLnBrk="0" hangingPunct="1">
        <a:lnSpc>
          <a:spcPct val="100000"/>
        </a:lnSpc>
        <a:spcBef>
          <a:spcPts val="0"/>
        </a:spcBef>
        <a:spcAft>
          <a:spcPts val="900"/>
        </a:spcAft>
        <a:buFont typeface="Arial" panose="020B0604020202020204" pitchFamily="34" charset="0"/>
        <a:buNone/>
        <a:defRPr sz="1600" b="0" i="0" kern="1200">
          <a:solidFill>
            <a:schemeClr val="tx1"/>
          </a:solidFill>
          <a:latin typeface="BT Curve" panose="020B0503020203020204" pitchFamily="34" charset="0"/>
          <a:ea typeface="+mn-ea"/>
          <a:cs typeface="+mn-cs"/>
        </a:defRPr>
      </a:lvl1pPr>
      <a:lvl2pPr marL="177800" indent="-177800" algn="l" defTabSz="554500" rtl="0" eaLnBrk="1" latinLnBrk="0" hangingPunct="1">
        <a:lnSpc>
          <a:spcPct val="100000"/>
        </a:lnSpc>
        <a:spcBef>
          <a:spcPts val="0"/>
        </a:spcBef>
        <a:spcAft>
          <a:spcPts val="900"/>
        </a:spcAft>
        <a:buFont typeface="Wingdings" panose="05000000000000000000" pitchFamily="2" charset="2"/>
        <a:buChar char="§"/>
        <a:defRPr sz="1600" b="0" i="0" kern="1200">
          <a:solidFill>
            <a:schemeClr val="tx1"/>
          </a:solidFill>
          <a:latin typeface="BT Curve" panose="020B0503020203020204" pitchFamily="34" charset="0"/>
          <a:ea typeface="+mn-ea"/>
          <a:cs typeface="+mn-cs"/>
        </a:defRPr>
      </a:lvl2pPr>
      <a:lvl3pPr marL="360363" indent="-182563" algn="l" defTabSz="554500" rtl="0" eaLnBrk="1" latinLnBrk="0" hangingPunct="1">
        <a:lnSpc>
          <a:spcPct val="100000"/>
        </a:lnSpc>
        <a:spcBef>
          <a:spcPts val="0"/>
        </a:spcBef>
        <a:spcAft>
          <a:spcPts val="900"/>
        </a:spcAft>
        <a:buFont typeface="Tahoma" panose="020B0604030504040204" pitchFamily="34" charset="0"/>
        <a:buChar char="–"/>
        <a:defRPr sz="1600" b="0" i="0" kern="1200">
          <a:solidFill>
            <a:schemeClr val="tx1"/>
          </a:solidFill>
          <a:latin typeface="BT Curve" panose="020B0503020203020204" pitchFamily="34" charset="0"/>
          <a:ea typeface="+mn-ea"/>
          <a:cs typeface="+mn-cs"/>
        </a:defRPr>
      </a:lvl3pPr>
      <a:lvl4pPr marL="0" indent="0" algn="l" defTabSz="554500" rtl="0" eaLnBrk="1" latinLnBrk="0" hangingPunct="1">
        <a:lnSpc>
          <a:spcPct val="100000"/>
        </a:lnSpc>
        <a:spcBef>
          <a:spcPts val="600"/>
        </a:spcBef>
        <a:spcAft>
          <a:spcPts val="1800"/>
        </a:spcAft>
        <a:buFont typeface="Arial" panose="020B0604020202020204" pitchFamily="34" charset="0"/>
        <a:buNone/>
        <a:tabLst/>
        <a:defRPr sz="1800" b="0" kern="1200">
          <a:solidFill>
            <a:schemeClr val="tx1"/>
          </a:solidFill>
          <a:latin typeface="+mj-lt"/>
          <a:ea typeface="+mn-ea"/>
          <a:cs typeface="+mn-cs"/>
        </a:defRPr>
      </a:lvl4pPr>
      <a:lvl5pPr marL="625475" indent="-265113" algn="l" defTabSz="554500" rtl="0" eaLnBrk="1" latinLnBrk="0" hangingPunct="1">
        <a:lnSpc>
          <a:spcPct val="100000"/>
        </a:lnSpc>
        <a:spcBef>
          <a:spcPts val="0"/>
        </a:spcBef>
        <a:spcAft>
          <a:spcPts val="900"/>
        </a:spcAft>
        <a:buFont typeface="Wingdings" panose="05000000000000000000" pitchFamily="2" charset="2"/>
        <a:buChar char="§"/>
        <a:defRPr sz="1600" b="0" i="0" kern="1200">
          <a:solidFill>
            <a:schemeClr val="tx1"/>
          </a:solidFill>
          <a:latin typeface="BT Curve" panose="020B0503020203020204" pitchFamily="34" charset="0"/>
          <a:ea typeface="+mn-ea"/>
          <a:cs typeface="+mn-cs"/>
        </a:defRPr>
      </a:lvl5pPr>
      <a:lvl6pPr marL="1524875" indent="-138625" algn="l" defTabSz="55450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26" indent="-138625" algn="l" defTabSz="55450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75" indent="-138625" algn="l" defTabSz="55450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626" indent="-138625" algn="l" defTabSz="55450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500" rtl="0" eaLnBrk="1" latinLnBrk="0" hangingPunct="1">
        <a:defRPr sz="1092" kern="1200">
          <a:solidFill>
            <a:schemeClr val="tx1"/>
          </a:solidFill>
          <a:latin typeface="+mn-lt"/>
          <a:ea typeface="+mn-ea"/>
          <a:cs typeface="+mn-cs"/>
        </a:defRPr>
      </a:lvl1pPr>
      <a:lvl2pPr marL="277250" algn="l" defTabSz="554500" rtl="0" eaLnBrk="1" latinLnBrk="0" hangingPunct="1">
        <a:defRPr sz="1092" kern="1200">
          <a:solidFill>
            <a:schemeClr val="tx1"/>
          </a:solidFill>
          <a:latin typeface="+mn-lt"/>
          <a:ea typeface="+mn-ea"/>
          <a:cs typeface="+mn-cs"/>
        </a:defRPr>
      </a:lvl2pPr>
      <a:lvl3pPr marL="554500" algn="l" defTabSz="554500" rtl="0" eaLnBrk="1" latinLnBrk="0" hangingPunct="1">
        <a:defRPr sz="1092" kern="1200">
          <a:solidFill>
            <a:schemeClr val="tx1"/>
          </a:solidFill>
          <a:latin typeface="+mn-lt"/>
          <a:ea typeface="+mn-ea"/>
          <a:cs typeface="+mn-cs"/>
        </a:defRPr>
      </a:lvl3pPr>
      <a:lvl4pPr marL="831750" algn="l" defTabSz="554500" rtl="0" eaLnBrk="1" latinLnBrk="0" hangingPunct="1">
        <a:defRPr sz="1092" kern="1200">
          <a:solidFill>
            <a:schemeClr val="tx1"/>
          </a:solidFill>
          <a:latin typeface="+mn-lt"/>
          <a:ea typeface="+mn-ea"/>
          <a:cs typeface="+mn-cs"/>
        </a:defRPr>
      </a:lvl4pPr>
      <a:lvl5pPr marL="1109000" algn="l" defTabSz="554500" rtl="0" eaLnBrk="1" latinLnBrk="0" hangingPunct="1">
        <a:defRPr sz="1092" kern="1200">
          <a:solidFill>
            <a:schemeClr val="tx1"/>
          </a:solidFill>
          <a:latin typeface="+mn-lt"/>
          <a:ea typeface="+mn-ea"/>
          <a:cs typeface="+mn-cs"/>
        </a:defRPr>
      </a:lvl5pPr>
      <a:lvl6pPr marL="1386250" algn="l" defTabSz="554500" rtl="0" eaLnBrk="1" latinLnBrk="0" hangingPunct="1">
        <a:defRPr sz="1092" kern="1200">
          <a:solidFill>
            <a:schemeClr val="tx1"/>
          </a:solidFill>
          <a:latin typeface="+mn-lt"/>
          <a:ea typeface="+mn-ea"/>
          <a:cs typeface="+mn-cs"/>
        </a:defRPr>
      </a:lvl6pPr>
      <a:lvl7pPr marL="1663500" algn="l" defTabSz="554500" rtl="0" eaLnBrk="1" latinLnBrk="0" hangingPunct="1">
        <a:defRPr sz="1092" kern="1200">
          <a:solidFill>
            <a:schemeClr val="tx1"/>
          </a:solidFill>
          <a:latin typeface="+mn-lt"/>
          <a:ea typeface="+mn-ea"/>
          <a:cs typeface="+mn-cs"/>
        </a:defRPr>
      </a:lvl7pPr>
      <a:lvl8pPr marL="1940750" algn="l" defTabSz="554500" rtl="0" eaLnBrk="1" latinLnBrk="0" hangingPunct="1">
        <a:defRPr sz="1092" kern="1200">
          <a:solidFill>
            <a:schemeClr val="tx1"/>
          </a:solidFill>
          <a:latin typeface="+mn-lt"/>
          <a:ea typeface="+mn-ea"/>
          <a:cs typeface="+mn-cs"/>
        </a:defRPr>
      </a:lvl8pPr>
      <a:lvl9pPr marL="2218001" algn="l" defTabSz="554500"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26">
          <p15:clr>
            <a:srgbClr val="F26B43"/>
          </p15:clr>
        </p15:guide>
        <p15:guide id="3" orient="horz" pos="196">
          <p15:clr>
            <a:srgbClr val="F26B43"/>
          </p15:clr>
        </p15:guide>
        <p15:guide id="4" pos="194">
          <p15:clr>
            <a:srgbClr val="F26B43"/>
          </p15:clr>
        </p15:guide>
        <p15:guide id="5" orient="horz" pos="3997">
          <p15:clr>
            <a:srgbClr val="F26B43"/>
          </p15:clr>
        </p15:guide>
        <p15:guide id="6" pos="7486">
          <p15:clr>
            <a:srgbClr val="F26B43"/>
          </p15:clr>
        </p15:guide>
        <p15:guide id="7" orient="horz" pos="1427">
          <p15:clr>
            <a:srgbClr val="F26B43"/>
          </p15:clr>
        </p15:guide>
        <p15:guide id="8" pos="3840">
          <p15:clr>
            <a:srgbClr val="F26B43"/>
          </p15:clr>
        </p15:guide>
        <p15:guide id="9" pos="565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svg"/></Relationships>
</file>

<file path=ppt/slides/_rels/slide1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0.xml"/><Relationship Id="rId1" Type="http://schemas.openxmlformats.org/officeDocument/2006/relationships/slideLayout" Target="../slideLayouts/slideLayout30.xml"/><Relationship Id="rId5" Type="http://schemas.openxmlformats.org/officeDocument/2006/relationships/image" Target="../media/image22.sv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1.xml"/><Relationship Id="rId1" Type="http://schemas.openxmlformats.org/officeDocument/2006/relationships/slideLayout" Target="../slideLayouts/slideLayout30.xml"/><Relationship Id="rId5" Type="http://schemas.openxmlformats.org/officeDocument/2006/relationships/image" Target="../media/image22.sv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image" Target="../media/image70.jpeg"/><Relationship Id="rId7" Type="http://schemas.openxmlformats.org/officeDocument/2006/relationships/image" Target="../media/image74.gif"/><Relationship Id="rId2" Type="http://schemas.openxmlformats.org/officeDocument/2006/relationships/notesSlide" Target="../notesSlides/notesSlide12.xml"/><Relationship Id="rId1" Type="http://schemas.openxmlformats.org/officeDocument/2006/relationships/slideLayout" Target="../slideLayouts/slideLayout30.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 Id="rId9" Type="http://schemas.openxmlformats.org/officeDocument/2006/relationships/image" Target="../media/image76.jpeg"/></Relationships>
</file>

<file path=ppt/slides/_rels/slide1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3.xml"/><Relationship Id="rId1" Type="http://schemas.openxmlformats.org/officeDocument/2006/relationships/slideLayout" Target="../slideLayouts/slideLayout30.xml"/><Relationship Id="rId5" Type="http://schemas.openxmlformats.org/officeDocument/2006/relationships/image" Target="../media/image22.sv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xml"/><Relationship Id="rId1" Type="http://schemas.openxmlformats.org/officeDocument/2006/relationships/slideLayout" Target="../slideLayouts/slideLayout30.xml"/><Relationship Id="rId6" Type="http://schemas.openxmlformats.org/officeDocument/2006/relationships/image" Target="../media/image22.svg"/><Relationship Id="rId5" Type="http://schemas.openxmlformats.org/officeDocument/2006/relationships/image" Target="../media/image21.png"/><Relationship Id="rId4" Type="http://schemas.microsoft.com/office/2007/relationships/hdphoto" Target="../media/hdphoto2.wdp"/></Relationships>
</file>

<file path=ppt/slides/_rels/slide15.xml.rels><?xml version="1.0" encoding="UTF-8" standalone="yes"?>
<Relationships xmlns="http://schemas.openxmlformats.org/package/2006/relationships"><Relationship Id="rId8" Type="http://schemas.openxmlformats.org/officeDocument/2006/relationships/hyperlink" Target="https://nationalcareers.service.gov.uk/explore-careers" TargetMode="External"/><Relationship Id="rId3" Type="http://schemas.openxmlformats.org/officeDocument/2006/relationships/hyperlink" Target="https://www.cummins.com/eu/darlington-uk" TargetMode="External"/><Relationship Id="rId7" Type="http://schemas.openxmlformats.org/officeDocument/2006/relationships/hyperlink" Target="https://www.teesworks.co.uk/" TargetMode="External"/><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hyperlink" Target="https://teesvalley-ca.gov.uk/work/education-employment-and-skills/labour-market-intelligence-factsheets/" TargetMode="External"/><Relationship Id="rId11" Type="http://schemas.openxmlformats.org/officeDocument/2006/relationships/image" Target="../media/image22.svg"/><Relationship Id="rId5" Type="http://schemas.openxmlformats.org/officeDocument/2006/relationships/hyperlink" Target="https://teesvalley-ca.gov.uk/business/invest/key-sectors/" TargetMode="External"/><Relationship Id="rId10" Type="http://schemas.openxmlformats.org/officeDocument/2006/relationships/image" Target="../media/image21.png"/><Relationship Id="rId4" Type="http://schemas.openxmlformats.org/officeDocument/2006/relationships/hyperlink" Target="https://teesvalley-ca.gov.uk/work/careers-hub/" TargetMode="External"/><Relationship Id="rId9" Type="http://schemas.openxmlformats.org/officeDocument/2006/relationships/image" Target="../media/image79.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46.xml"/><Relationship Id="rId4" Type="http://schemas.openxmlformats.org/officeDocument/2006/relationships/image" Target="../media/image19.svg"/></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30.xml"/><Relationship Id="rId5" Type="http://schemas.openxmlformats.org/officeDocument/2006/relationships/image" Target="../media/image22.svg"/><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video" Target="https://www.youtube.com/embed/iAnK7dpeao0" TargetMode="External"/><Relationship Id="rId4" Type="http://schemas.openxmlformats.org/officeDocument/2006/relationships/image" Target="../media/image23.jpeg"/></Relationships>
</file>

<file path=ppt/slides/_rels/slide4.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18" Type="http://schemas.openxmlformats.org/officeDocument/2006/relationships/image" Target="../media/image39.svg"/><Relationship Id="rId3" Type="http://schemas.openxmlformats.org/officeDocument/2006/relationships/image" Target="../media/image24.png"/><Relationship Id="rId21" Type="http://schemas.openxmlformats.org/officeDocument/2006/relationships/image" Target="../media/image21.png"/><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image" Target="../media/image38.png"/><Relationship Id="rId2" Type="http://schemas.openxmlformats.org/officeDocument/2006/relationships/notesSlide" Target="../notesSlides/notesSlide4.xml"/><Relationship Id="rId16" Type="http://schemas.openxmlformats.org/officeDocument/2006/relationships/image" Target="../media/image37.svg"/><Relationship Id="rId20" Type="http://schemas.openxmlformats.org/officeDocument/2006/relationships/image" Target="../media/image41.svg"/><Relationship Id="rId1" Type="http://schemas.openxmlformats.org/officeDocument/2006/relationships/slideLayout" Target="../slideLayouts/slideLayout30.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svg"/><Relationship Id="rId19" Type="http://schemas.openxmlformats.org/officeDocument/2006/relationships/image" Target="../media/image40.pn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 Id="rId22" Type="http://schemas.openxmlformats.org/officeDocument/2006/relationships/image" Target="../media/image22.svg"/></Relationships>
</file>

<file path=ppt/slides/_rels/slide5.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18" Type="http://schemas.openxmlformats.org/officeDocument/2006/relationships/image" Target="../media/image57.svg"/><Relationship Id="rId3" Type="http://schemas.openxmlformats.org/officeDocument/2006/relationships/image" Target="../media/image42.png"/><Relationship Id="rId21" Type="http://schemas.openxmlformats.org/officeDocument/2006/relationships/image" Target="../media/image21.png"/><Relationship Id="rId7" Type="http://schemas.openxmlformats.org/officeDocument/2006/relationships/image" Target="../media/image46.png"/><Relationship Id="rId12" Type="http://schemas.openxmlformats.org/officeDocument/2006/relationships/image" Target="../media/image51.svg"/><Relationship Id="rId17" Type="http://schemas.openxmlformats.org/officeDocument/2006/relationships/image" Target="../media/image56.png"/><Relationship Id="rId2" Type="http://schemas.openxmlformats.org/officeDocument/2006/relationships/notesSlide" Target="../notesSlides/notesSlide5.xml"/><Relationship Id="rId16" Type="http://schemas.openxmlformats.org/officeDocument/2006/relationships/image" Target="../media/image55.svg"/><Relationship Id="rId20" Type="http://schemas.openxmlformats.org/officeDocument/2006/relationships/image" Target="../media/image59.svg"/><Relationship Id="rId1" Type="http://schemas.openxmlformats.org/officeDocument/2006/relationships/slideLayout" Target="../slideLayouts/slideLayout30.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54.png"/><Relationship Id="rId10" Type="http://schemas.openxmlformats.org/officeDocument/2006/relationships/image" Target="../media/image49.svg"/><Relationship Id="rId19" Type="http://schemas.openxmlformats.org/officeDocument/2006/relationships/image" Target="../media/image58.png"/><Relationship Id="rId4" Type="http://schemas.openxmlformats.org/officeDocument/2006/relationships/image" Target="../media/image43.svg"/><Relationship Id="rId9" Type="http://schemas.openxmlformats.org/officeDocument/2006/relationships/image" Target="../media/image48.png"/><Relationship Id="rId14" Type="http://schemas.openxmlformats.org/officeDocument/2006/relationships/image" Target="../media/image53.svg"/><Relationship Id="rId22" Type="http://schemas.openxmlformats.org/officeDocument/2006/relationships/image" Target="../media/image22.sv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60.jpe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0.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eg"/></Relationships>
</file>

<file path=ppt/slides/_rels/slide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7.xml"/><Relationship Id="rId1" Type="http://schemas.openxmlformats.org/officeDocument/2006/relationships/slideLayout" Target="../slideLayouts/slideLayout30.xml"/><Relationship Id="rId5" Type="http://schemas.openxmlformats.org/officeDocument/2006/relationships/image" Target="../media/image22.sv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65.jpeg"/><Relationship Id="rId7" Type="http://schemas.microsoft.com/office/2007/relationships/hdphoto" Target="../media/hdphoto1.wdp"/><Relationship Id="rId2" Type="http://schemas.openxmlformats.org/officeDocument/2006/relationships/notesSlide" Target="../notesSlides/notesSlide9.xml"/><Relationship Id="rId1" Type="http://schemas.openxmlformats.org/officeDocument/2006/relationships/slideLayout" Target="../slideLayouts/slideLayout30.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jpeg"/><Relationship Id="rId9"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large sign with a red and white logo&#10;&#10;AI-generated content may be incorrect.">
            <a:extLst>
              <a:ext uri="{FF2B5EF4-FFF2-40B4-BE49-F238E27FC236}">
                <a16:creationId xmlns:a16="http://schemas.microsoft.com/office/drawing/2014/main" id="{D5202DE8-FB47-B04C-8136-45B38116565E}"/>
              </a:ext>
            </a:extLst>
          </p:cNvPr>
          <p:cNvPicPr>
            <a:picLocks noChangeAspect="1"/>
          </p:cNvPicPr>
          <p:nvPr/>
        </p:nvPicPr>
        <p:blipFill>
          <a:blip r:embed="rId3"/>
          <a:stretch>
            <a:fillRect/>
          </a:stretch>
        </p:blipFill>
        <p:spPr>
          <a:xfrm>
            <a:off x="4595910" y="0"/>
            <a:ext cx="7936415" cy="6858000"/>
          </a:xfrm>
          <a:prstGeom prst="rect">
            <a:avLst/>
          </a:prstGeom>
        </p:spPr>
      </p:pic>
      <p:pic>
        <p:nvPicPr>
          <p:cNvPr id="5" name="Picture 4">
            <a:extLst>
              <a:ext uri="{FF2B5EF4-FFF2-40B4-BE49-F238E27FC236}">
                <a16:creationId xmlns:a16="http://schemas.microsoft.com/office/drawing/2014/main" id="{240BB6E0-3E2D-07EC-E422-648628C03375}"/>
              </a:ext>
            </a:extLst>
          </p:cNvPr>
          <p:cNvPicPr>
            <a:picLocks noChangeAspect="1"/>
          </p:cNvPicPr>
          <p:nvPr/>
        </p:nvPicPr>
        <p:blipFill>
          <a:blip r:embed="rId4"/>
          <a:srcRect/>
          <a:stretch/>
        </p:blipFill>
        <p:spPr>
          <a:xfrm>
            <a:off x="0" y="-165103"/>
            <a:ext cx="12779033" cy="7188206"/>
          </a:xfrm>
          <a:prstGeom prst="rect">
            <a:avLst/>
          </a:prstGeom>
        </p:spPr>
      </p:pic>
      <p:sp>
        <p:nvSpPr>
          <p:cNvPr id="8" name="Title 7">
            <a:extLst>
              <a:ext uri="{FF2B5EF4-FFF2-40B4-BE49-F238E27FC236}">
                <a16:creationId xmlns:a16="http://schemas.microsoft.com/office/drawing/2014/main" id="{AF31F27D-A071-310D-4DD5-41C06EFDE673}"/>
              </a:ext>
            </a:extLst>
          </p:cNvPr>
          <p:cNvSpPr>
            <a:spLocks noGrp="1"/>
          </p:cNvSpPr>
          <p:nvPr>
            <p:ph type="title"/>
          </p:nvPr>
        </p:nvSpPr>
        <p:spPr>
          <a:xfrm>
            <a:off x="322806" y="2261031"/>
            <a:ext cx="4751210" cy="1961651"/>
          </a:xfrm>
        </p:spPr>
        <p:txBody>
          <a:bodyPr lIns="91440" tIns="45720" rIns="91440" bIns="45720" anchor="t"/>
          <a:lstStyle/>
          <a:p>
            <a:r>
              <a:rPr lang="en-US">
                <a:latin typeface="Inter"/>
                <a:cs typeface="Arial"/>
              </a:rPr>
              <a:t>Cummins</a:t>
            </a:r>
            <a:br>
              <a:rPr lang="en-US">
                <a:latin typeface="Inter"/>
                <a:cs typeface="Arial"/>
              </a:rPr>
            </a:br>
            <a:r>
              <a:rPr lang="en-US">
                <a:latin typeface="Inter"/>
                <a:cs typeface="Arial"/>
              </a:rPr>
              <a:t>Engineering careers</a:t>
            </a:r>
            <a:br>
              <a:rPr lang="en-US"/>
            </a:br>
            <a:br>
              <a:rPr lang="en-US"/>
            </a:br>
            <a:br>
              <a:rPr lang="en-US"/>
            </a:br>
            <a:endParaRPr lang="en-US" sz="2800"/>
          </a:p>
        </p:txBody>
      </p:sp>
      <p:pic>
        <p:nvPicPr>
          <p:cNvPr id="1026" name="Picture 2" descr="St Aidan's C of E Academy">
            <a:extLst>
              <a:ext uri="{FF2B5EF4-FFF2-40B4-BE49-F238E27FC236}">
                <a16:creationId xmlns:a16="http://schemas.microsoft.com/office/drawing/2014/main" id="{5E7FA2B7-7ED5-3B50-9758-0B5B4427D0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1880" y="5928745"/>
            <a:ext cx="1562202" cy="35838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black background with white text&#10;&#10;Description automatically generated">
            <a:extLst>
              <a:ext uri="{FF2B5EF4-FFF2-40B4-BE49-F238E27FC236}">
                <a16:creationId xmlns:a16="http://schemas.microsoft.com/office/drawing/2014/main" id="{1184BED8-A51D-DD66-7F6A-67183FDE45F4}"/>
              </a:ext>
            </a:extLst>
          </p:cNvPr>
          <p:cNvPicPr>
            <a:picLocks noChangeAspect="1"/>
          </p:cNvPicPr>
          <p:nvPr/>
        </p:nvPicPr>
        <p:blipFill>
          <a:blip r:embed="rId6"/>
          <a:stretch>
            <a:fillRect/>
          </a:stretch>
        </p:blipFill>
        <p:spPr>
          <a:xfrm>
            <a:off x="2131880" y="5089303"/>
            <a:ext cx="1944130" cy="466591"/>
          </a:xfrm>
          <a:prstGeom prst="rect">
            <a:avLst/>
          </a:prstGeom>
        </p:spPr>
      </p:pic>
      <p:pic>
        <p:nvPicPr>
          <p:cNvPr id="4" name="Google Shape;217;p1" descr="A black background with white text&#10;&#10;Description automatically generated">
            <a:extLst>
              <a:ext uri="{FF2B5EF4-FFF2-40B4-BE49-F238E27FC236}">
                <a16:creationId xmlns:a16="http://schemas.microsoft.com/office/drawing/2014/main" id="{3C97A5A8-A134-B086-931C-EB79E4034FE5}"/>
              </a:ext>
            </a:extLst>
          </p:cNvPr>
          <p:cNvPicPr preferRelativeResize="0"/>
          <p:nvPr/>
        </p:nvPicPr>
        <p:blipFill rotWithShape="1">
          <a:blip r:embed="rId7">
            <a:alphaModFix/>
          </a:blip>
          <a:srcRect/>
          <a:stretch/>
        </p:blipFill>
        <p:spPr>
          <a:xfrm>
            <a:off x="3997594" y="5555894"/>
            <a:ext cx="1437718" cy="1008838"/>
          </a:xfrm>
          <a:prstGeom prst="rect">
            <a:avLst/>
          </a:prstGeom>
          <a:noFill/>
          <a:ln>
            <a:noFill/>
          </a:ln>
        </p:spPr>
      </p:pic>
      <p:pic>
        <p:nvPicPr>
          <p:cNvPr id="11" name="Graphic 10">
            <a:extLst>
              <a:ext uri="{FF2B5EF4-FFF2-40B4-BE49-F238E27FC236}">
                <a16:creationId xmlns:a16="http://schemas.microsoft.com/office/drawing/2014/main" id="{7DA44437-BEDE-99A4-9A3B-53E71CF64A0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9879" y="5101322"/>
            <a:ext cx="1293611" cy="1185810"/>
          </a:xfrm>
          <a:prstGeom prst="rect">
            <a:avLst/>
          </a:prstGeom>
        </p:spPr>
      </p:pic>
    </p:spTree>
    <p:extLst>
      <p:ext uri="{BB962C8B-B14F-4D97-AF65-F5344CB8AC3E}">
        <p14:creationId xmlns:p14="http://schemas.microsoft.com/office/powerpoint/2010/main" val="4045559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E07DA0B-BD30-4A82-939E-DF2F81DA4653}"/>
              </a:ext>
            </a:extLst>
          </p:cNvPr>
          <p:cNvSpPr txBox="1"/>
          <p:nvPr/>
        </p:nvSpPr>
        <p:spPr>
          <a:xfrm>
            <a:off x="334109" y="1696958"/>
            <a:ext cx="6891640" cy="4185761"/>
          </a:xfrm>
          <a:prstGeom prst="rect">
            <a:avLst/>
          </a:prstGeom>
          <a:noFill/>
        </p:spPr>
        <p:txBody>
          <a:bodyPr wrap="square" rtlCol="0">
            <a:spAutoFit/>
          </a:bodyPr>
          <a:lstStyle/>
          <a:p>
            <a:r>
              <a:rPr lang="en-GB" sz="1900">
                <a:solidFill>
                  <a:schemeClr val="tx2"/>
                </a:solidFill>
                <a:latin typeface="Inter" panose="020B0502030000000004" pitchFamily="34" charset="0"/>
                <a:ea typeface="Inter" panose="020B0502030000000004" pitchFamily="34" charset="0"/>
              </a:rPr>
              <a:t>Your lift must carry a weight from the floor to desk height without you touching it or manually operating it. </a:t>
            </a:r>
            <a:br>
              <a:rPr lang="en-GB" sz="1900">
                <a:solidFill>
                  <a:schemeClr val="tx2"/>
                </a:solidFill>
                <a:latin typeface="Inter" panose="020B0502030000000004" pitchFamily="34" charset="0"/>
                <a:ea typeface="Inter" panose="020B0502030000000004" pitchFamily="34" charset="0"/>
              </a:rPr>
            </a:br>
            <a:r>
              <a:rPr lang="en-GB" sz="1900">
                <a:solidFill>
                  <a:schemeClr val="tx2"/>
                </a:solidFill>
                <a:latin typeface="Inter" panose="020B0502030000000004" pitchFamily="34" charset="0"/>
                <a:ea typeface="Inter" panose="020B0502030000000004" pitchFamily="34" charset="0"/>
              </a:rPr>
              <a:t>It can be secured to the desk using tape.</a:t>
            </a:r>
          </a:p>
          <a:p>
            <a:endParaRPr lang="en-GB" sz="1900">
              <a:solidFill>
                <a:schemeClr val="tx2"/>
              </a:solidFill>
              <a:latin typeface="Inter" panose="020B0502030000000004" pitchFamily="34" charset="0"/>
              <a:ea typeface="Inter" panose="020B0502030000000004" pitchFamily="34" charset="0"/>
            </a:endParaRPr>
          </a:p>
          <a:p>
            <a:r>
              <a:rPr lang="en-GB" sz="1900" b="1">
                <a:solidFill>
                  <a:schemeClr val="tx2"/>
                </a:solidFill>
                <a:latin typeface="Inter" panose="020B0502030000000004" pitchFamily="34" charset="0"/>
                <a:ea typeface="Inter" panose="020B0502030000000004" pitchFamily="34" charset="0"/>
              </a:rPr>
              <a:t>You must:</a:t>
            </a:r>
          </a:p>
          <a:p>
            <a:r>
              <a:rPr lang="en-GB" sz="1900">
                <a:solidFill>
                  <a:schemeClr val="tx2"/>
                </a:solidFill>
                <a:latin typeface="Inter" panose="020B0502030000000004" pitchFamily="34" charset="0"/>
                <a:ea typeface="Inter" panose="020B0502030000000004" pitchFamily="34" charset="0"/>
              </a:rPr>
              <a:t>Be in a group of 3/4   |   Use the internet for research</a:t>
            </a:r>
          </a:p>
          <a:p>
            <a:r>
              <a:rPr lang="en-GB" sz="1900">
                <a:solidFill>
                  <a:schemeClr val="tx2"/>
                </a:solidFill>
                <a:latin typeface="Inter" panose="020B0502030000000004" pitchFamily="34" charset="0"/>
                <a:ea typeface="Inter" panose="020B0502030000000004" pitchFamily="34" charset="0"/>
              </a:rPr>
              <a:t>Draw a full page of ideas   |   Model your final idea accurately</a:t>
            </a:r>
          </a:p>
          <a:p>
            <a:r>
              <a:rPr lang="en-GB" sz="1900">
                <a:solidFill>
                  <a:schemeClr val="tx2"/>
                </a:solidFill>
                <a:latin typeface="Inter" panose="020B0502030000000004" pitchFamily="34" charset="0"/>
                <a:ea typeface="Inter" panose="020B0502030000000004" pitchFamily="34" charset="0"/>
              </a:rPr>
              <a:t>Use the equipment carefully  |   Test your final model</a:t>
            </a:r>
          </a:p>
          <a:p>
            <a:endParaRPr lang="en-GB" sz="1900">
              <a:solidFill>
                <a:schemeClr val="tx2"/>
              </a:solidFill>
              <a:latin typeface="Inter" panose="020B0502030000000004" pitchFamily="34" charset="0"/>
              <a:ea typeface="Inter" panose="020B0502030000000004" pitchFamily="34" charset="0"/>
            </a:endParaRPr>
          </a:p>
          <a:p>
            <a:r>
              <a:rPr lang="en-GB" sz="1900" b="1">
                <a:solidFill>
                  <a:schemeClr val="tx2"/>
                </a:solidFill>
                <a:latin typeface="Inter" panose="020B0502030000000004" pitchFamily="34" charset="0"/>
                <a:ea typeface="Inter" panose="020B0502030000000004" pitchFamily="34" charset="0"/>
              </a:rPr>
              <a:t>You could:</a:t>
            </a:r>
          </a:p>
          <a:p>
            <a:r>
              <a:rPr lang="en-GB" sz="1900">
                <a:solidFill>
                  <a:schemeClr val="tx2"/>
                </a:solidFill>
                <a:latin typeface="Inter" panose="020B0502030000000004" pitchFamily="34" charset="0"/>
                <a:ea typeface="Inter" panose="020B0502030000000004" pitchFamily="34" charset="0"/>
              </a:rPr>
              <a:t>Research wind powered machines to help you with the design of your lift. </a:t>
            </a:r>
            <a:r>
              <a:rPr lang="en-GB" sz="1900" i="1">
                <a:solidFill>
                  <a:schemeClr val="tx2"/>
                </a:solidFill>
                <a:latin typeface="Inter" panose="020B0502030000000004" pitchFamily="34" charset="0"/>
                <a:ea typeface="Inter" panose="020B0502030000000004" pitchFamily="34" charset="0"/>
              </a:rPr>
              <a:t>Maybe have a look at windmill sails.</a:t>
            </a:r>
          </a:p>
          <a:p>
            <a:endParaRPr lang="en-GB" sz="1900">
              <a:solidFill>
                <a:schemeClr val="tx2"/>
              </a:solidFill>
              <a:latin typeface="Inter" panose="020B0502030000000004" pitchFamily="34" charset="0"/>
              <a:ea typeface="Inter" panose="020B0502030000000004" pitchFamily="34" charset="0"/>
            </a:endParaRPr>
          </a:p>
        </p:txBody>
      </p:sp>
      <p:sp>
        <p:nvSpPr>
          <p:cNvPr id="3" name="Title 2">
            <a:extLst>
              <a:ext uri="{FF2B5EF4-FFF2-40B4-BE49-F238E27FC236}">
                <a16:creationId xmlns:a16="http://schemas.microsoft.com/office/drawing/2014/main" id="{3F364A8F-5001-4FDB-B124-0E943CDBDC1A}"/>
              </a:ext>
            </a:extLst>
          </p:cNvPr>
          <p:cNvSpPr>
            <a:spLocks noGrp="1"/>
          </p:cNvSpPr>
          <p:nvPr>
            <p:ph type="title"/>
          </p:nvPr>
        </p:nvSpPr>
        <p:spPr>
          <a:xfrm>
            <a:off x="334107" y="423741"/>
            <a:ext cx="5470345" cy="977676"/>
          </a:xfrm>
        </p:spPr>
        <p:txBody>
          <a:bodyPr/>
          <a:lstStyle/>
          <a:p>
            <a:r>
              <a:rPr lang="en-GB"/>
              <a:t>Wind Powered Lift – The Challenge…</a:t>
            </a:r>
          </a:p>
        </p:txBody>
      </p:sp>
      <p:pic>
        <p:nvPicPr>
          <p:cNvPr id="6" name="Picture 5" descr="A wind turbine in the clouds&#10;&#10;Description automatically generated">
            <a:extLst>
              <a:ext uri="{FF2B5EF4-FFF2-40B4-BE49-F238E27FC236}">
                <a16:creationId xmlns:a16="http://schemas.microsoft.com/office/drawing/2014/main" id="{291FFFF0-997F-7CE2-480E-8EE453F73105}"/>
              </a:ext>
            </a:extLst>
          </p:cNvPr>
          <p:cNvPicPr>
            <a:picLocks noChangeAspect="1"/>
          </p:cNvPicPr>
          <p:nvPr/>
        </p:nvPicPr>
        <p:blipFill rotWithShape="1">
          <a:blip r:embed="rId3"/>
          <a:srcRect l="18820" t="3542" r="21649"/>
          <a:stretch/>
        </p:blipFill>
        <p:spPr>
          <a:xfrm>
            <a:off x="7345017" y="0"/>
            <a:ext cx="4846983" cy="5890109"/>
          </a:xfrm>
          <a:prstGeom prst="rect">
            <a:avLst/>
          </a:prstGeom>
        </p:spPr>
      </p:pic>
      <p:pic>
        <p:nvPicPr>
          <p:cNvPr id="2" name="Graphic 1">
            <a:extLst>
              <a:ext uri="{FF2B5EF4-FFF2-40B4-BE49-F238E27FC236}">
                <a16:creationId xmlns:a16="http://schemas.microsoft.com/office/drawing/2014/main" id="{E2419DCF-B78D-D242-6313-77262D897C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35568497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E07DA0B-BD30-4A82-939E-DF2F81DA4653}"/>
              </a:ext>
            </a:extLst>
          </p:cNvPr>
          <p:cNvSpPr txBox="1"/>
          <p:nvPr/>
        </p:nvSpPr>
        <p:spPr>
          <a:xfrm>
            <a:off x="334109" y="1443841"/>
            <a:ext cx="3184343" cy="492443"/>
          </a:xfrm>
          <a:prstGeom prst="rect">
            <a:avLst/>
          </a:prstGeom>
          <a:noFill/>
        </p:spPr>
        <p:txBody>
          <a:bodyPr wrap="square" lIns="0" tIns="0" rIns="0" bIns="0" rtlCol="0">
            <a:spAutoFit/>
          </a:bodyPr>
          <a:lstStyle/>
          <a:p>
            <a:r>
              <a:rPr lang="en-GB" sz="1600">
                <a:solidFill>
                  <a:schemeClr val="tx2"/>
                </a:solidFill>
                <a:latin typeface="Inter" panose="02000503000000020004" pitchFamily="2" charset="0"/>
                <a:ea typeface="Inter" panose="02000503000000020004" pitchFamily="2" charset="0"/>
              </a:rPr>
              <a:t>Dowel will fit inside the art straws</a:t>
            </a:r>
          </a:p>
        </p:txBody>
      </p:sp>
      <p:sp>
        <p:nvSpPr>
          <p:cNvPr id="3" name="Title 2">
            <a:extLst>
              <a:ext uri="{FF2B5EF4-FFF2-40B4-BE49-F238E27FC236}">
                <a16:creationId xmlns:a16="http://schemas.microsoft.com/office/drawing/2014/main" id="{3F364A8F-5001-4FDB-B124-0E943CDBDC1A}"/>
              </a:ext>
            </a:extLst>
          </p:cNvPr>
          <p:cNvSpPr>
            <a:spLocks noGrp="1"/>
          </p:cNvSpPr>
          <p:nvPr>
            <p:ph type="title"/>
          </p:nvPr>
        </p:nvSpPr>
        <p:spPr/>
        <p:txBody>
          <a:bodyPr/>
          <a:lstStyle/>
          <a:p>
            <a:r>
              <a:rPr lang="en-GB"/>
              <a:t>Wind Powered Lift – Tips…</a:t>
            </a:r>
          </a:p>
        </p:txBody>
      </p:sp>
      <p:sp>
        <p:nvSpPr>
          <p:cNvPr id="7" name="TextBox 6">
            <a:extLst>
              <a:ext uri="{FF2B5EF4-FFF2-40B4-BE49-F238E27FC236}">
                <a16:creationId xmlns:a16="http://schemas.microsoft.com/office/drawing/2014/main" id="{A68E20D4-AAE4-467D-A99A-1D6929D63630}"/>
              </a:ext>
            </a:extLst>
          </p:cNvPr>
          <p:cNvSpPr txBox="1"/>
          <p:nvPr/>
        </p:nvSpPr>
        <p:spPr>
          <a:xfrm>
            <a:off x="4061285" y="1443841"/>
            <a:ext cx="3289580" cy="492443"/>
          </a:xfrm>
          <a:prstGeom prst="rect">
            <a:avLst/>
          </a:prstGeom>
          <a:noFill/>
        </p:spPr>
        <p:txBody>
          <a:bodyPr wrap="square" lIns="0" tIns="0" rIns="0" bIns="0" rtlCol="0">
            <a:spAutoFit/>
          </a:bodyPr>
          <a:lstStyle/>
          <a:p>
            <a:r>
              <a:rPr lang="en-GB" sz="1600">
                <a:solidFill>
                  <a:schemeClr val="tx2"/>
                </a:solidFill>
                <a:latin typeface="Inter" panose="02000503000000020004" pitchFamily="2" charset="0"/>
                <a:ea typeface="Inter" panose="02000503000000020004" pitchFamily="2" charset="0"/>
              </a:rPr>
              <a:t>You will need to make a container for the weight to be carried in</a:t>
            </a:r>
          </a:p>
        </p:txBody>
      </p:sp>
      <p:sp>
        <p:nvSpPr>
          <p:cNvPr id="9" name="TextBox 8">
            <a:extLst>
              <a:ext uri="{FF2B5EF4-FFF2-40B4-BE49-F238E27FC236}">
                <a16:creationId xmlns:a16="http://schemas.microsoft.com/office/drawing/2014/main" id="{B5D9B108-3639-4B38-AEBB-32582D577E44}"/>
              </a:ext>
            </a:extLst>
          </p:cNvPr>
          <p:cNvSpPr txBox="1"/>
          <p:nvPr/>
        </p:nvSpPr>
        <p:spPr>
          <a:xfrm>
            <a:off x="4061285" y="4778517"/>
            <a:ext cx="3049006" cy="492443"/>
          </a:xfrm>
          <a:prstGeom prst="rect">
            <a:avLst/>
          </a:prstGeom>
          <a:noFill/>
        </p:spPr>
        <p:txBody>
          <a:bodyPr wrap="square" lIns="0" tIns="0" rIns="0" bIns="0" rtlCol="0">
            <a:spAutoFit/>
          </a:bodyPr>
          <a:lstStyle/>
          <a:p>
            <a:r>
              <a:rPr lang="en-GB" sz="1600">
                <a:solidFill>
                  <a:schemeClr val="tx2"/>
                </a:solidFill>
                <a:latin typeface="Inter" panose="02000503000000020004" pitchFamily="2" charset="0"/>
                <a:ea typeface="Inter" panose="02000503000000020004" pitchFamily="2" charset="0"/>
              </a:rPr>
              <a:t>Test as you go so you can alter it before the final test</a:t>
            </a:r>
          </a:p>
        </p:txBody>
      </p:sp>
      <p:sp>
        <p:nvSpPr>
          <p:cNvPr id="10" name="TextBox 9">
            <a:extLst>
              <a:ext uri="{FF2B5EF4-FFF2-40B4-BE49-F238E27FC236}">
                <a16:creationId xmlns:a16="http://schemas.microsoft.com/office/drawing/2014/main" id="{7BA313BE-5043-4C75-AD80-A00F95DCE445}"/>
              </a:ext>
            </a:extLst>
          </p:cNvPr>
          <p:cNvSpPr txBox="1"/>
          <p:nvPr/>
        </p:nvSpPr>
        <p:spPr>
          <a:xfrm>
            <a:off x="4061284" y="3645368"/>
            <a:ext cx="3289579" cy="738664"/>
          </a:xfrm>
          <a:prstGeom prst="rect">
            <a:avLst/>
          </a:prstGeom>
          <a:noFill/>
        </p:spPr>
        <p:txBody>
          <a:bodyPr wrap="square" lIns="0" tIns="0" rIns="0" bIns="0" rtlCol="0">
            <a:spAutoFit/>
          </a:bodyPr>
          <a:lstStyle/>
          <a:p>
            <a:r>
              <a:rPr lang="en-GB" sz="1600">
                <a:solidFill>
                  <a:schemeClr val="tx2"/>
                </a:solidFill>
                <a:latin typeface="Inter" panose="02000503000000020004" pitchFamily="2" charset="0"/>
                <a:ea typeface="Inter" panose="02000503000000020004" pitchFamily="2" charset="0"/>
              </a:rPr>
              <a:t>When testing; the wind will blow directly towards the front of your model.</a:t>
            </a:r>
          </a:p>
        </p:txBody>
      </p:sp>
      <p:sp>
        <p:nvSpPr>
          <p:cNvPr id="11" name="TextBox 10">
            <a:extLst>
              <a:ext uri="{FF2B5EF4-FFF2-40B4-BE49-F238E27FC236}">
                <a16:creationId xmlns:a16="http://schemas.microsoft.com/office/drawing/2014/main" id="{2ECD324B-9FBD-4549-9EC3-F1077E7F37C4}"/>
              </a:ext>
            </a:extLst>
          </p:cNvPr>
          <p:cNvSpPr txBox="1"/>
          <p:nvPr/>
        </p:nvSpPr>
        <p:spPr>
          <a:xfrm>
            <a:off x="4061285" y="2472546"/>
            <a:ext cx="3041102" cy="738664"/>
          </a:xfrm>
          <a:prstGeom prst="rect">
            <a:avLst/>
          </a:prstGeom>
          <a:noFill/>
        </p:spPr>
        <p:txBody>
          <a:bodyPr wrap="square" lIns="0" tIns="0" rIns="0" bIns="0" rtlCol="0">
            <a:spAutoFit/>
          </a:bodyPr>
          <a:lstStyle/>
          <a:p>
            <a:r>
              <a:rPr lang="en-GB" sz="1600">
                <a:solidFill>
                  <a:schemeClr val="tx2"/>
                </a:solidFill>
                <a:latin typeface="Inter" panose="02000503000000020004" pitchFamily="2" charset="0"/>
                <a:ea typeface="Inter" panose="02000503000000020004" pitchFamily="2" charset="0"/>
              </a:rPr>
              <a:t>How can you make sure the string will not slip from the shaft?</a:t>
            </a:r>
          </a:p>
        </p:txBody>
      </p:sp>
      <p:sp>
        <p:nvSpPr>
          <p:cNvPr id="2" name="TextBox 1">
            <a:extLst>
              <a:ext uri="{FF2B5EF4-FFF2-40B4-BE49-F238E27FC236}">
                <a16:creationId xmlns:a16="http://schemas.microsoft.com/office/drawing/2014/main" id="{7BB66DC6-14F5-23D6-FF07-98A76CC55F6D}"/>
              </a:ext>
            </a:extLst>
          </p:cNvPr>
          <p:cNvSpPr txBox="1"/>
          <p:nvPr/>
        </p:nvSpPr>
        <p:spPr>
          <a:xfrm>
            <a:off x="334107" y="2474161"/>
            <a:ext cx="3132321" cy="738664"/>
          </a:xfrm>
          <a:prstGeom prst="rect">
            <a:avLst/>
          </a:prstGeom>
          <a:noFill/>
        </p:spPr>
        <p:txBody>
          <a:bodyPr wrap="square" lIns="0" tIns="0" rIns="0" bIns="0" rtlCol="0">
            <a:spAutoFit/>
          </a:bodyPr>
          <a:lstStyle/>
          <a:p>
            <a:r>
              <a:rPr lang="en-GB" sz="1600">
                <a:solidFill>
                  <a:schemeClr val="tx2"/>
                </a:solidFill>
                <a:latin typeface="Inter" panose="02000503000000020004" pitchFamily="2" charset="0"/>
                <a:ea typeface="Inter" panose="02000503000000020004" pitchFamily="2" charset="0"/>
              </a:rPr>
              <a:t>You could make one sail and then use it as a template for the others</a:t>
            </a:r>
          </a:p>
        </p:txBody>
      </p:sp>
      <p:sp>
        <p:nvSpPr>
          <p:cNvPr id="4" name="TextBox 3">
            <a:extLst>
              <a:ext uri="{FF2B5EF4-FFF2-40B4-BE49-F238E27FC236}">
                <a16:creationId xmlns:a16="http://schemas.microsoft.com/office/drawing/2014/main" id="{09FE2E84-924D-662F-681D-98C17BAAD6E5}"/>
              </a:ext>
            </a:extLst>
          </p:cNvPr>
          <p:cNvSpPr txBox="1"/>
          <p:nvPr/>
        </p:nvSpPr>
        <p:spPr>
          <a:xfrm>
            <a:off x="312760" y="3645367"/>
            <a:ext cx="3132322" cy="738664"/>
          </a:xfrm>
          <a:prstGeom prst="rect">
            <a:avLst/>
          </a:prstGeom>
          <a:noFill/>
        </p:spPr>
        <p:txBody>
          <a:bodyPr wrap="square" lIns="0" tIns="0" rIns="0" bIns="0" rtlCol="0">
            <a:spAutoFit/>
          </a:bodyPr>
          <a:lstStyle/>
          <a:p>
            <a:r>
              <a:rPr lang="en-GB" sz="1600">
                <a:solidFill>
                  <a:schemeClr val="tx2"/>
                </a:solidFill>
                <a:latin typeface="Inter" panose="02000503000000020004" pitchFamily="2" charset="0"/>
                <a:ea typeface="Inter" panose="02000503000000020004" pitchFamily="2" charset="0"/>
              </a:rPr>
              <a:t>Allow enough height for the sails to go around by building a tower</a:t>
            </a:r>
          </a:p>
        </p:txBody>
      </p:sp>
      <p:sp>
        <p:nvSpPr>
          <p:cNvPr id="5" name="TextBox 4">
            <a:extLst>
              <a:ext uri="{FF2B5EF4-FFF2-40B4-BE49-F238E27FC236}">
                <a16:creationId xmlns:a16="http://schemas.microsoft.com/office/drawing/2014/main" id="{315ACF6C-361B-C686-EA09-C9073067BA9D}"/>
              </a:ext>
            </a:extLst>
          </p:cNvPr>
          <p:cNvSpPr txBox="1"/>
          <p:nvPr/>
        </p:nvSpPr>
        <p:spPr>
          <a:xfrm>
            <a:off x="4061285" y="5612241"/>
            <a:ext cx="2906046" cy="492443"/>
          </a:xfrm>
          <a:prstGeom prst="rect">
            <a:avLst/>
          </a:prstGeom>
          <a:noFill/>
        </p:spPr>
        <p:txBody>
          <a:bodyPr wrap="square" lIns="0" tIns="0" rIns="0" bIns="0" rtlCol="0">
            <a:spAutoFit/>
          </a:bodyPr>
          <a:lstStyle/>
          <a:p>
            <a:r>
              <a:rPr lang="en-GB" sz="1600">
                <a:solidFill>
                  <a:schemeClr val="tx2"/>
                </a:solidFill>
                <a:latin typeface="Inter" panose="02000503000000020004" pitchFamily="2" charset="0"/>
                <a:ea typeface="Inter" panose="02000503000000020004" pitchFamily="2" charset="0"/>
              </a:rPr>
              <a:t>Triangles are great shapes to provide support</a:t>
            </a:r>
          </a:p>
        </p:txBody>
      </p:sp>
      <p:cxnSp>
        <p:nvCxnSpPr>
          <p:cNvPr id="12" name="Straight Connector 11">
            <a:extLst>
              <a:ext uri="{FF2B5EF4-FFF2-40B4-BE49-F238E27FC236}">
                <a16:creationId xmlns:a16="http://schemas.microsoft.com/office/drawing/2014/main" id="{68D55288-6486-3636-A5E5-27E741C96614}"/>
              </a:ext>
            </a:extLst>
          </p:cNvPr>
          <p:cNvCxnSpPr>
            <a:cxnSpLocks/>
          </p:cNvCxnSpPr>
          <p:nvPr/>
        </p:nvCxnSpPr>
        <p:spPr>
          <a:xfrm>
            <a:off x="3753183" y="1443841"/>
            <a:ext cx="0" cy="4722398"/>
          </a:xfrm>
          <a:prstGeom prst="line">
            <a:avLst/>
          </a:prstGeom>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FE845F6E-CE08-84D9-71D5-D6D085D97ED3}"/>
              </a:ext>
            </a:extLst>
          </p:cNvPr>
          <p:cNvSpPr txBox="1"/>
          <p:nvPr/>
        </p:nvSpPr>
        <p:spPr>
          <a:xfrm>
            <a:off x="334108" y="4778517"/>
            <a:ext cx="3184344" cy="738664"/>
          </a:xfrm>
          <a:prstGeom prst="rect">
            <a:avLst/>
          </a:prstGeom>
          <a:noFill/>
        </p:spPr>
        <p:txBody>
          <a:bodyPr wrap="square" lIns="0" tIns="0" rIns="0" bIns="0" rtlCol="0">
            <a:spAutoFit/>
          </a:bodyPr>
          <a:lstStyle/>
          <a:p>
            <a:r>
              <a:rPr lang="en-GB" sz="1600">
                <a:solidFill>
                  <a:schemeClr val="tx2"/>
                </a:solidFill>
                <a:latin typeface="Inter" panose="02000503000000020004" pitchFamily="2" charset="0"/>
                <a:ea typeface="Inter" panose="02000503000000020004" pitchFamily="2" charset="0"/>
              </a:rPr>
              <a:t>It is worth looking at the direction the sails need to be in order to harness the wind.</a:t>
            </a:r>
          </a:p>
        </p:txBody>
      </p:sp>
      <p:pic>
        <p:nvPicPr>
          <p:cNvPr id="16" name="Picture 15" descr="A wind turbine in the clouds&#10;&#10;Description automatically generated">
            <a:extLst>
              <a:ext uri="{FF2B5EF4-FFF2-40B4-BE49-F238E27FC236}">
                <a16:creationId xmlns:a16="http://schemas.microsoft.com/office/drawing/2014/main" id="{9DA5897E-4DCD-D17B-535D-D3609B9BDEBE}"/>
              </a:ext>
            </a:extLst>
          </p:cNvPr>
          <p:cNvPicPr>
            <a:picLocks noChangeAspect="1"/>
          </p:cNvPicPr>
          <p:nvPr/>
        </p:nvPicPr>
        <p:blipFill rotWithShape="1">
          <a:blip r:embed="rId3"/>
          <a:srcRect l="22332" t="3389" r="20712"/>
          <a:stretch/>
        </p:blipFill>
        <p:spPr>
          <a:xfrm>
            <a:off x="7345017" y="0"/>
            <a:ext cx="4846983" cy="6166239"/>
          </a:xfrm>
          <a:prstGeom prst="rect">
            <a:avLst/>
          </a:prstGeom>
        </p:spPr>
      </p:pic>
      <p:pic>
        <p:nvPicPr>
          <p:cNvPr id="6" name="Graphic 5">
            <a:extLst>
              <a:ext uri="{FF2B5EF4-FFF2-40B4-BE49-F238E27FC236}">
                <a16:creationId xmlns:a16="http://schemas.microsoft.com/office/drawing/2014/main" id="{3F51C2FD-DB59-9238-11BA-7AEE9B8849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3230672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364A8F-5001-4FDB-B124-0E943CDBDC1A}"/>
              </a:ext>
            </a:extLst>
          </p:cNvPr>
          <p:cNvSpPr>
            <a:spLocks noGrp="1"/>
          </p:cNvSpPr>
          <p:nvPr>
            <p:ph type="title"/>
          </p:nvPr>
        </p:nvSpPr>
        <p:spPr/>
        <p:txBody>
          <a:bodyPr/>
          <a:lstStyle/>
          <a:p>
            <a:r>
              <a:rPr lang="en-GB"/>
              <a:t>Previous examples</a:t>
            </a:r>
          </a:p>
        </p:txBody>
      </p:sp>
      <p:pic>
        <p:nvPicPr>
          <p:cNvPr id="6" name="Picture 5">
            <a:extLst>
              <a:ext uri="{FF2B5EF4-FFF2-40B4-BE49-F238E27FC236}">
                <a16:creationId xmlns:a16="http://schemas.microsoft.com/office/drawing/2014/main" id="{941EC5E2-64DB-4E15-B21D-3FAE2E9C64F1}"/>
              </a:ext>
            </a:extLst>
          </p:cNvPr>
          <p:cNvPicPr>
            <a:picLocks noChangeAspect="1"/>
          </p:cNvPicPr>
          <p:nvPr/>
        </p:nvPicPr>
        <p:blipFill rotWithShape="1">
          <a:blip r:embed="rId3"/>
          <a:srcRect l="21923" t="9406" r="46894" b="31705"/>
          <a:stretch/>
        </p:blipFill>
        <p:spPr>
          <a:xfrm>
            <a:off x="8581292" y="1056056"/>
            <a:ext cx="3610708" cy="5124822"/>
          </a:xfrm>
          <a:prstGeom prst="rect">
            <a:avLst/>
          </a:prstGeom>
        </p:spPr>
      </p:pic>
      <p:pic>
        <p:nvPicPr>
          <p:cNvPr id="4" name="Picture 3">
            <a:extLst>
              <a:ext uri="{FF2B5EF4-FFF2-40B4-BE49-F238E27FC236}">
                <a16:creationId xmlns:a16="http://schemas.microsoft.com/office/drawing/2014/main" id="{32373A08-5069-4070-BF12-61DF001A0D83}"/>
              </a:ext>
            </a:extLst>
          </p:cNvPr>
          <p:cNvPicPr>
            <a:picLocks noChangeAspect="1"/>
          </p:cNvPicPr>
          <p:nvPr/>
        </p:nvPicPr>
        <p:blipFill rotWithShape="1">
          <a:blip r:embed="rId4"/>
          <a:srcRect l="24704" t="4810" r="15033"/>
          <a:stretch/>
        </p:blipFill>
        <p:spPr>
          <a:xfrm>
            <a:off x="4255478" y="1056056"/>
            <a:ext cx="4325814" cy="5124822"/>
          </a:xfrm>
          <a:prstGeom prst="rect">
            <a:avLst/>
          </a:prstGeom>
        </p:spPr>
      </p:pic>
      <p:pic>
        <p:nvPicPr>
          <p:cNvPr id="7" name="Picture 6">
            <a:extLst>
              <a:ext uri="{FF2B5EF4-FFF2-40B4-BE49-F238E27FC236}">
                <a16:creationId xmlns:a16="http://schemas.microsoft.com/office/drawing/2014/main" id="{CA193351-E5B9-4719-B905-DDDD1FDA0FC9}"/>
              </a:ext>
            </a:extLst>
          </p:cNvPr>
          <p:cNvPicPr>
            <a:picLocks noChangeAspect="1"/>
          </p:cNvPicPr>
          <p:nvPr/>
        </p:nvPicPr>
        <p:blipFill rotWithShape="1">
          <a:blip r:embed="rId5"/>
          <a:srcRect l="29039" t="44499" r="40961" b="6117"/>
          <a:stretch/>
        </p:blipFill>
        <p:spPr>
          <a:xfrm>
            <a:off x="1980724" y="3366598"/>
            <a:ext cx="2274754" cy="2814279"/>
          </a:xfrm>
          <a:prstGeom prst="rect">
            <a:avLst/>
          </a:prstGeom>
        </p:spPr>
      </p:pic>
      <p:pic>
        <p:nvPicPr>
          <p:cNvPr id="10" name="Picture 9">
            <a:extLst>
              <a:ext uri="{FF2B5EF4-FFF2-40B4-BE49-F238E27FC236}">
                <a16:creationId xmlns:a16="http://schemas.microsoft.com/office/drawing/2014/main" id="{50A84C94-1EE9-4ADC-B85A-A97F4C547E57}"/>
              </a:ext>
            </a:extLst>
          </p:cNvPr>
          <p:cNvPicPr>
            <a:picLocks noChangeAspect="1"/>
          </p:cNvPicPr>
          <p:nvPr/>
        </p:nvPicPr>
        <p:blipFill rotWithShape="1">
          <a:blip r:embed="rId6"/>
          <a:srcRect l="31838" t="47900" r="12130" b="6634"/>
          <a:stretch/>
        </p:blipFill>
        <p:spPr>
          <a:xfrm>
            <a:off x="0" y="1042930"/>
            <a:ext cx="2567112" cy="2771532"/>
          </a:xfrm>
          <a:prstGeom prst="rect">
            <a:avLst/>
          </a:prstGeom>
        </p:spPr>
      </p:pic>
      <p:pic>
        <p:nvPicPr>
          <p:cNvPr id="8194" name="Picture 2" descr="Wind Turbine Power Lifter: Energy and Engineering Science Activity |  Exploratorium Teacher Institute Project">
            <a:extLst>
              <a:ext uri="{FF2B5EF4-FFF2-40B4-BE49-F238E27FC236}">
                <a16:creationId xmlns:a16="http://schemas.microsoft.com/office/drawing/2014/main" id="{1DA8314D-CBB7-48D4-AD3A-CCC9FF08BBFF}"/>
              </a:ext>
            </a:extLst>
          </p:cNvPr>
          <p:cNvPicPr>
            <a:picLocks noChangeAspect="1" noChangeArrowheads="1" noCrop="1"/>
          </p:cNvPicPr>
          <p:nvPr/>
        </p:nvPicPr>
        <p:blipFill>
          <a:blip r:embed="rId7">
            <a:extLst>
              <a:ext uri="{28A0092B-C50C-407E-A947-70E740481C1C}">
                <a14:useLocalDpi xmlns:a14="http://schemas.microsoft.com/office/drawing/2010/main" val="0"/>
              </a:ext>
            </a:extLst>
          </a:blip>
          <a:srcRect/>
          <a:stretch>
            <a:fillRect/>
          </a:stretch>
        </p:blipFill>
        <p:spPr bwMode="auto">
          <a:xfrm>
            <a:off x="2567112" y="1056055"/>
            <a:ext cx="2421792" cy="2310544"/>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Wind Lift 10-Pack | Engage with Renewable Energy">
            <a:extLst>
              <a:ext uri="{FF2B5EF4-FFF2-40B4-BE49-F238E27FC236}">
                <a16:creationId xmlns:a16="http://schemas.microsoft.com/office/drawing/2014/main" id="{E1C02A1D-20F8-4892-B006-7D84559559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3613764"/>
            <a:ext cx="2567112" cy="2567112"/>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Build the TeacherGeek Wind Lift">
            <a:extLst>
              <a:ext uri="{FF2B5EF4-FFF2-40B4-BE49-F238E27FC236}">
                <a16:creationId xmlns:a16="http://schemas.microsoft.com/office/drawing/2014/main" id="{AC6EB8BE-B6C7-4B9C-95D1-A39D7BD1EE7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7643" r="25181"/>
          <a:stretch/>
        </p:blipFill>
        <p:spPr bwMode="auto">
          <a:xfrm>
            <a:off x="6552751" y="4185138"/>
            <a:ext cx="2028542" cy="1995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8422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E37F64-9412-49F9-BF68-3A3FAEA54098}"/>
              </a:ext>
            </a:extLst>
          </p:cNvPr>
          <p:cNvSpPr/>
          <p:nvPr/>
        </p:nvSpPr>
        <p:spPr>
          <a:xfrm>
            <a:off x="7394713" y="0"/>
            <a:ext cx="4810664" cy="5685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42" name="Picture 2" descr="Wind Lift 10-Pack | Engage with Renewable Energy">
            <a:extLst>
              <a:ext uri="{FF2B5EF4-FFF2-40B4-BE49-F238E27FC236}">
                <a16:creationId xmlns:a16="http://schemas.microsoft.com/office/drawing/2014/main" id="{28789250-CCB7-434D-BD98-3FD0943E4DD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84" r="4284"/>
          <a:stretch/>
        </p:blipFill>
        <p:spPr bwMode="auto">
          <a:xfrm>
            <a:off x="7394713" y="423740"/>
            <a:ext cx="4810664" cy="526144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E07DA0B-BD30-4A82-939E-DF2F81DA4653}"/>
              </a:ext>
            </a:extLst>
          </p:cNvPr>
          <p:cNvSpPr txBox="1"/>
          <p:nvPr/>
        </p:nvSpPr>
        <p:spPr>
          <a:xfrm>
            <a:off x="344740" y="1731958"/>
            <a:ext cx="6920764" cy="3693319"/>
          </a:xfrm>
          <a:prstGeom prst="rect">
            <a:avLst/>
          </a:prstGeom>
          <a:noFill/>
        </p:spPr>
        <p:txBody>
          <a:bodyPr wrap="square" rtlCol="0">
            <a:spAutoFit/>
          </a:bodyPr>
          <a:lstStyle/>
          <a:p>
            <a:r>
              <a:rPr lang="en-GB">
                <a:solidFill>
                  <a:schemeClr val="tx2"/>
                </a:solidFill>
                <a:latin typeface="Inter" panose="020B0502030000000004" pitchFamily="34" charset="0"/>
                <a:ea typeface="Inter" panose="020B0502030000000004" pitchFamily="34" charset="0"/>
              </a:rPr>
              <a:t>Fix your wind powered lift to the desk</a:t>
            </a:r>
          </a:p>
          <a:p>
            <a:endParaRPr lang="en-GB">
              <a:solidFill>
                <a:schemeClr val="tx2"/>
              </a:solidFill>
              <a:latin typeface="Inter" panose="020B0502030000000004" pitchFamily="34" charset="0"/>
              <a:ea typeface="Inter" panose="020B0502030000000004" pitchFamily="34" charset="0"/>
            </a:endParaRPr>
          </a:p>
          <a:p>
            <a:r>
              <a:rPr lang="en-GB">
                <a:solidFill>
                  <a:schemeClr val="tx2"/>
                </a:solidFill>
                <a:latin typeface="Inter" panose="020B0502030000000004" pitchFamily="34" charset="0"/>
                <a:ea typeface="Inter" panose="020B0502030000000004" pitchFamily="34" charset="0"/>
              </a:rPr>
              <a:t>Load the weight into the basket/bucket</a:t>
            </a:r>
          </a:p>
          <a:p>
            <a:endParaRPr lang="en-GB">
              <a:solidFill>
                <a:schemeClr val="tx2"/>
              </a:solidFill>
              <a:latin typeface="Inter" panose="020B0502030000000004" pitchFamily="34" charset="0"/>
              <a:ea typeface="Inter" panose="020B0502030000000004" pitchFamily="34" charset="0"/>
            </a:endParaRPr>
          </a:p>
          <a:p>
            <a:r>
              <a:rPr lang="en-GB">
                <a:solidFill>
                  <a:schemeClr val="tx2"/>
                </a:solidFill>
                <a:latin typeface="Inter" panose="020B0502030000000004" pitchFamily="34" charset="0"/>
                <a:ea typeface="Inter" panose="020B0502030000000004" pitchFamily="34" charset="0"/>
              </a:rPr>
              <a:t>Stand back</a:t>
            </a:r>
          </a:p>
          <a:p>
            <a:endParaRPr lang="en-GB">
              <a:solidFill>
                <a:schemeClr val="tx2"/>
              </a:solidFill>
              <a:latin typeface="Inter" panose="020B0502030000000004" pitchFamily="34" charset="0"/>
              <a:ea typeface="Inter" panose="020B0502030000000004" pitchFamily="34" charset="0"/>
            </a:endParaRPr>
          </a:p>
          <a:p>
            <a:r>
              <a:rPr lang="en-GB">
                <a:solidFill>
                  <a:schemeClr val="tx2"/>
                </a:solidFill>
                <a:latin typeface="Inter" panose="020B0502030000000004" pitchFamily="34" charset="0"/>
                <a:ea typeface="Inter" panose="020B0502030000000004" pitchFamily="34" charset="0"/>
              </a:rPr>
              <a:t>Turn the fan on directly in front of your model</a:t>
            </a:r>
          </a:p>
          <a:p>
            <a:endParaRPr lang="en-GB">
              <a:solidFill>
                <a:schemeClr val="tx2"/>
              </a:solidFill>
              <a:latin typeface="Inter" panose="020B0502030000000004" pitchFamily="34" charset="0"/>
              <a:ea typeface="Inter" panose="020B0502030000000004" pitchFamily="34" charset="0"/>
            </a:endParaRPr>
          </a:p>
          <a:p>
            <a:r>
              <a:rPr lang="en-GB" b="1">
                <a:solidFill>
                  <a:schemeClr val="tx2"/>
                </a:solidFill>
                <a:latin typeface="Inter" panose="020B0502030000000004" pitchFamily="34" charset="0"/>
                <a:ea typeface="Inter" panose="020B0502030000000004" pitchFamily="34" charset="0"/>
              </a:rPr>
              <a:t>Test:</a:t>
            </a:r>
          </a:p>
          <a:p>
            <a:r>
              <a:rPr lang="en-GB">
                <a:solidFill>
                  <a:schemeClr val="tx2"/>
                </a:solidFill>
                <a:latin typeface="Inter" panose="020B0502030000000004" pitchFamily="34" charset="0"/>
                <a:ea typeface="Inter" panose="020B0502030000000004" pitchFamily="34" charset="0"/>
              </a:rPr>
              <a:t>Did it raise the weight?</a:t>
            </a:r>
          </a:p>
          <a:p>
            <a:r>
              <a:rPr lang="en-GB">
                <a:solidFill>
                  <a:schemeClr val="tx2"/>
                </a:solidFill>
                <a:latin typeface="Inter" panose="020B0502030000000004" pitchFamily="34" charset="0"/>
                <a:ea typeface="Inter" panose="020B0502030000000004" pitchFamily="34" charset="0"/>
              </a:rPr>
              <a:t>How quickly and safely did it raise the weight?</a:t>
            </a:r>
          </a:p>
          <a:p>
            <a:r>
              <a:rPr lang="en-GB">
                <a:solidFill>
                  <a:schemeClr val="tx2"/>
                </a:solidFill>
                <a:latin typeface="Inter" panose="020B0502030000000004" pitchFamily="34" charset="0"/>
                <a:ea typeface="Inter" panose="020B0502030000000004" pitchFamily="34" charset="0"/>
              </a:rPr>
              <a:t>How could you improve the lift?</a:t>
            </a:r>
          </a:p>
          <a:p>
            <a:r>
              <a:rPr lang="en-GB">
                <a:solidFill>
                  <a:schemeClr val="tx2"/>
                </a:solidFill>
                <a:latin typeface="Inter" panose="020B0502030000000004" pitchFamily="34" charset="0"/>
                <a:ea typeface="Inter" panose="020B0502030000000004" pitchFamily="34" charset="0"/>
              </a:rPr>
              <a:t>Is there another way you could make a wind powered lift?</a:t>
            </a:r>
          </a:p>
        </p:txBody>
      </p:sp>
      <p:sp>
        <p:nvSpPr>
          <p:cNvPr id="3" name="Title 2">
            <a:extLst>
              <a:ext uri="{FF2B5EF4-FFF2-40B4-BE49-F238E27FC236}">
                <a16:creationId xmlns:a16="http://schemas.microsoft.com/office/drawing/2014/main" id="{3F364A8F-5001-4FDB-B124-0E943CDBDC1A}"/>
              </a:ext>
            </a:extLst>
          </p:cNvPr>
          <p:cNvSpPr>
            <a:spLocks noGrp="1"/>
          </p:cNvSpPr>
          <p:nvPr>
            <p:ph type="title"/>
          </p:nvPr>
        </p:nvSpPr>
        <p:spPr/>
        <p:txBody>
          <a:bodyPr/>
          <a:lstStyle/>
          <a:p>
            <a:r>
              <a:rPr lang="en-GB"/>
              <a:t>Wind Powered Lift</a:t>
            </a:r>
            <a:br>
              <a:rPr lang="en-GB"/>
            </a:br>
            <a:r>
              <a:rPr lang="en-GB"/>
              <a:t> – Testing…</a:t>
            </a:r>
          </a:p>
        </p:txBody>
      </p:sp>
      <p:pic>
        <p:nvPicPr>
          <p:cNvPr id="4" name="Graphic 3">
            <a:extLst>
              <a:ext uri="{FF2B5EF4-FFF2-40B4-BE49-F238E27FC236}">
                <a16:creationId xmlns:a16="http://schemas.microsoft.com/office/drawing/2014/main" id="{ADC71E4B-80D8-6B26-1D51-DC8B9857BF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17975834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E07DA0B-BD30-4A82-939E-DF2F81DA4653}"/>
              </a:ext>
            </a:extLst>
          </p:cNvPr>
          <p:cNvSpPr txBox="1"/>
          <p:nvPr/>
        </p:nvSpPr>
        <p:spPr>
          <a:xfrm>
            <a:off x="334107" y="1571698"/>
            <a:ext cx="5298292" cy="2532809"/>
          </a:xfrm>
          <a:prstGeom prst="rect">
            <a:avLst/>
          </a:prstGeom>
          <a:noFill/>
        </p:spPr>
        <p:txBody>
          <a:bodyPr wrap="square" rtlCol="0">
            <a:spAutoFit/>
          </a:bodyPr>
          <a:lstStyle/>
          <a:p>
            <a:pPr>
              <a:lnSpc>
                <a:spcPts val="2360"/>
              </a:lnSpc>
            </a:pPr>
            <a:r>
              <a:rPr lang="en-GB">
                <a:solidFill>
                  <a:schemeClr val="tx2"/>
                </a:solidFill>
                <a:latin typeface="Inter" panose="020B0502030000000004" pitchFamily="34" charset="0"/>
                <a:ea typeface="Inter" panose="020B0502030000000004" pitchFamily="34" charset="0"/>
              </a:rPr>
              <a:t>You have, in essence, constructed a turbine.</a:t>
            </a:r>
          </a:p>
          <a:p>
            <a:pPr>
              <a:lnSpc>
                <a:spcPts val="2360"/>
              </a:lnSpc>
            </a:pPr>
            <a:endParaRPr lang="en-GB">
              <a:solidFill>
                <a:schemeClr val="tx2"/>
              </a:solidFill>
              <a:latin typeface="Inter" panose="020B0502030000000004" pitchFamily="34" charset="0"/>
              <a:ea typeface="Inter" panose="020B0502030000000004" pitchFamily="34" charset="0"/>
            </a:endParaRPr>
          </a:p>
          <a:p>
            <a:pPr>
              <a:lnSpc>
                <a:spcPts val="2360"/>
              </a:lnSpc>
            </a:pPr>
            <a:r>
              <a:rPr lang="en-GB">
                <a:solidFill>
                  <a:schemeClr val="tx2"/>
                </a:solidFill>
                <a:latin typeface="Inter" panose="020B0502030000000004" pitchFamily="34" charset="0"/>
                <a:ea typeface="Inter" panose="020B0502030000000004" pitchFamily="34" charset="0"/>
              </a:rPr>
              <a:t>A turbine takes the kinetic energy of a moving fluid, air in this case, and converts it to a rotary motion.</a:t>
            </a:r>
          </a:p>
          <a:p>
            <a:pPr>
              <a:lnSpc>
                <a:spcPts val="2360"/>
              </a:lnSpc>
            </a:pPr>
            <a:endParaRPr lang="en-GB">
              <a:solidFill>
                <a:schemeClr val="tx2"/>
              </a:solidFill>
              <a:latin typeface="Inter" panose="020B0502030000000004" pitchFamily="34" charset="0"/>
              <a:ea typeface="Inter" panose="020B0502030000000004" pitchFamily="34" charset="0"/>
            </a:endParaRPr>
          </a:p>
          <a:p>
            <a:pPr>
              <a:lnSpc>
                <a:spcPts val="2360"/>
              </a:lnSpc>
            </a:pPr>
            <a:r>
              <a:rPr lang="en-GB">
                <a:solidFill>
                  <a:schemeClr val="tx2"/>
                </a:solidFill>
                <a:latin typeface="Inter" panose="020B0502030000000004" pitchFamily="34" charset="0"/>
                <a:ea typeface="Inter" panose="020B0502030000000004" pitchFamily="34" charset="0"/>
              </a:rPr>
              <a:t>As wind moves past the blades of a wind turbine, it moves or rotates the blades.</a:t>
            </a:r>
          </a:p>
        </p:txBody>
      </p:sp>
      <p:sp>
        <p:nvSpPr>
          <p:cNvPr id="3" name="Title 2">
            <a:extLst>
              <a:ext uri="{FF2B5EF4-FFF2-40B4-BE49-F238E27FC236}">
                <a16:creationId xmlns:a16="http://schemas.microsoft.com/office/drawing/2014/main" id="{3F364A8F-5001-4FDB-B124-0E943CDBDC1A}"/>
              </a:ext>
            </a:extLst>
          </p:cNvPr>
          <p:cNvSpPr>
            <a:spLocks noGrp="1"/>
          </p:cNvSpPr>
          <p:nvPr>
            <p:ph type="title"/>
          </p:nvPr>
        </p:nvSpPr>
        <p:spPr/>
        <p:txBody>
          <a:bodyPr/>
          <a:lstStyle/>
          <a:p>
            <a:r>
              <a:rPr lang="en-GB"/>
              <a:t>What you have just done…</a:t>
            </a:r>
          </a:p>
        </p:txBody>
      </p:sp>
      <p:pic>
        <p:nvPicPr>
          <p:cNvPr id="11268" name="Picture 4" descr="How Wind Energy is Collected and Distributed?">
            <a:extLst>
              <a:ext uri="{FF2B5EF4-FFF2-40B4-BE49-F238E27FC236}">
                <a16:creationId xmlns:a16="http://schemas.microsoft.com/office/drawing/2014/main" id="{3F2D6927-6C90-4093-85F2-AA44F0930184}"/>
              </a:ext>
            </a:extLst>
          </p:cNvPr>
          <p:cNvPicPr>
            <a:picLocks noChangeAspect="1" noChangeArrowheads="1"/>
          </p:cNvPicPr>
          <p:nvPr/>
        </p:nvPicPr>
        <p:blipFill>
          <a:blip r:embed="rId3">
            <a:alphaModFix/>
            <a:extLst>
              <a:ext uri="{BEBA8EAE-BF5A-486C-A8C5-ECC9F3942E4B}">
                <a14:imgProps xmlns:a14="http://schemas.microsoft.com/office/drawing/2010/main">
                  <a14:imgLayer r:embed="rId4">
                    <a14:imgEffect>
                      <a14:colorTemperature colorTemp="10177"/>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095999" y="1553696"/>
            <a:ext cx="5761893" cy="283651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2E2BAF4-C1AD-45BB-AB3C-2A0B05BB8280}"/>
              </a:ext>
            </a:extLst>
          </p:cNvPr>
          <p:cNvSpPr txBox="1"/>
          <p:nvPr/>
        </p:nvSpPr>
        <p:spPr>
          <a:xfrm>
            <a:off x="442740" y="4688452"/>
            <a:ext cx="4715670" cy="830997"/>
          </a:xfrm>
          <a:prstGeom prst="rect">
            <a:avLst/>
          </a:prstGeom>
          <a:noFill/>
        </p:spPr>
        <p:txBody>
          <a:bodyPr wrap="square" lIns="0" tIns="0" rIns="0" bIns="0" numCol="1" spcCol="822960" rtlCol="0">
            <a:spAutoFit/>
          </a:bodyPr>
          <a:lstStyle/>
          <a:p>
            <a:r>
              <a:rPr lang="en-GB">
                <a:solidFill>
                  <a:schemeClr val="tx2"/>
                </a:solidFill>
                <a:latin typeface="Inter" panose="020B0502030000000004" pitchFamily="34" charset="0"/>
                <a:ea typeface="Inter" panose="020B0502030000000004" pitchFamily="34" charset="0"/>
              </a:rPr>
              <a:t>In this case your blades movement caused the axel to move and wrap the string around it, lifting the weight. </a:t>
            </a:r>
          </a:p>
        </p:txBody>
      </p:sp>
      <p:sp>
        <p:nvSpPr>
          <p:cNvPr id="4" name="TextBox 3">
            <a:extLst>
              <a:ext uri="{FF2B5EF4-FFF2-40B4-BE49-F238E27FC236}">
                <a16:creationId xmlns:a16="http://schemas.microsoft.com/office/drawing/2014/main" id="{5A63F481-F141-1D48-CFFE-55DAD00A9E96}"/>
              </a:ext>
            </a:extLst>
          </p:cNvPr>
          <p:cNvSpPr txBox="1"/>
          <p:nvPr/>
        </p:nvSpPr>
        <p:spPr>
          <a:xfrm>
            <a:off x="6077315" y="4688452"/>
            <a:ext cx="4796316" cy="553998"/>
          </a:xfrm>
          <a:prstGeom prst="rect">
            <a:avLst/>
          </a:prstGeom>
          <a:noFill/>
        </p:spPr>
        <p:txBody>
          <a:bodyPr wrap="square" lIns="0" tIns="0" rIns="0" bIns="0" numCol="1" spcCol="822960" rtlCol="0">
            <a:spAutoFit/>
          </a:bodyPr>
          <a:lstStyle/>
          <a:p>
            <a:r>
              <a:rPr lang="en-GB">
                <a:solidFill>
                  <a:schemeClr val="tx2"/>
                </a:solidFill>
                <a:latin typeface="Inter" panose="020B0502030000000004" pitchFamily="34" charset="0"/>
                <a:ea typeface="Inter" panose="020B0502030000000004" pitchFamily="34" charset="0"/>
              </a:rPr>
              <a:t>On an actual turbine these blades turn a generator which produces electricity.</a:t>
            </a:r>
          </a:p>
        </p:txBody>
      </p:sp>
      <p:pic>
        <p:nvPicPr>
          <p:cNvPr id="6" name="Graphic 5">
            <a:extLst>
              <a:ext uri="{FF2B5EF4-FFF2-40B4-BE49-F238E27FC236}">
                <a16:creationId xmlns:a16="http://schemas.microsoft.com/office/drawing/2014/main" id="{618242C8-0236-8C11-CA56-4EF7BAB773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2744730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E07DA0B-BD30-4A82-939E-DF2F81DA4653}"/>
              </a:ext>
            </a:extLst>
          </p:cNvPr>
          <p:cNvSpPr txBox="1"/>
          <p:nvPr/>
        </p:nvSpPr>
        <p:spPr>
          <a:xfrm>
            <a:off x="344740" y="1849732"/>
            <a:ext cx="11513153" cy="3477875"/>
          </a:xfrm>
          <a:prstGeom prst="rect">
            <a:avLst/>
          </a:prstGeom>
          <a:noFill/>
        </p:spPr>
        <p:txBody>
          <a:bodyPr wrap="square" rtlCol="0">
            <a:spAutoFit/>
          </a:bodyPr>
          <a:lstStyle/>
          <a:p>
            <a:r>
              <a:rPr lang="en-GB" sz="2000">
                <a:solidFill>
                  <a:schemeClr val="accent5"/>
                </a:solidFill>
                <a:latin typeface="Inter 18pt 18pt Medium" panose="02000503000000020004" pitchFamily="2" charset="0"/>
                <a:ea typeface="Inter 18pt 18pt Medium" panose="02000503000000020004" pitchFamily="2" charset="0"/>
                <a:hlinkClick r:id="rId3">
                  <a:extLst>
                    <a:ext uri="{A12FA001-AC4F-418D-AE19-62706E023703}">
                      <ahyp:hlinkClr xmlns:ahyp="http://schemas.microsoft.com/office/drawing/2018/hyperlinkcolor" val="tx"/>
                    </a:ext>
                  </a:extLst>
                </a:hlinkClick>
              </a:rPr>
              <a:t>Cummins</a:t>
            </a:r>
            <a:endParaRPr lang="en-GB" sz="2000">
              <a:solidFill>
                <a:schemeClr val="accent5"/>
              </a:solidFill>
              <a:latin typeface="Inter 18pt 18pt Medium" panose="02000503000000020004" pitchFamily="2" charset="0"/>
              <a:ea typeface="Inter 18pt 18pt Medium" panose="02000503000000020004" pitchFamily="2" charset="0"/>
            </a:endParaRPr>
          </a:p>
          <a:p>
            <a:endParaRPr lang="en-GB" sz="2000">
              <a:solidFill>
                <a:schemeClr val="accent5"/>
              </a:solidFill>
              <a:latin typeface="Inter 18pt 18pt Medium" panose="02000503000000020004" pitchFamily="2" charset="0"/>
              <a:ea typeface="Inter 18pt 18pt Medium" panose="02000503000000020004" pitchFamily="2" charset="0"/>
            </a:endParaRPr>
          </a:p>
          <a:p>
            <a:r>
              <a:rPr lang="en-GB" sz="2000">
                <a:solidFill>
                  <a:schemeClr val="accent5"/>
                </a:solidFill>
                <a:latin typeface="Inter 18pt 18pt Medium" panose="02000503000000020004" pitchFamily="2" charset="0"/>
                <a:ea typeface="Inter 18pt 18pt Medium" panose="02000503000000020004" pitchFamily="2" charset="0"/>
                <a:hlinkClick r:id="rId4">
                  <a:extLst>
                    <a:ext uri="{A12FA001-AC4F-418D-AE19-62706E023703}">
                      <ahyp:hlinkClr xmlns:ahyp="http://schemas.microsoft.com/office/drawing/2018/hyperlinkcolor" val="tx"/>
                    </a:ext>
                  </a:extLst>
                </a:hlinkClick>
              </a:rPr>
              <a:t>Tees Valley Careers</a:t>
            </a:r>
            <a:endParaRPr lang="en-GB" sz="2000">
              <a:solidFill>
                <a:schemeClr val="accent5"/>
              </a:solidFill>
              <a:latin typeface="Inter 18pt 18pt Medium" panose="02000503000000020004" pitchFamily="2" charset="0"/>
              <a:ea typeface="Inter 18pt 18pt Medium" panose="02000503000000020004" pitchFamily="2" charset="0"/>
            </a:endParaRPr>
          </a:p>
          <a:p>
            <a:endParaRPr lang="en-GB" sz="2000">
              <a:solidFill>
                <a:schemeClr val="accent5"/>
              </a:solidFill>
              <a:latin typeface="Inter 18pt 18pt Medium" panose="02000503000000020004" pitchFamily="2" charset="0"/>
              <a:ea typeface="Inter 18pt 18pt Medium" panose="02000503000000020004" pitchFamily="2" charset="0"/>
            </a:endParaRPr>
          </a:p>
          <a:p>
            <a:r>
              <a:rPr lang="en-GB" sz="2000">
                <a:solidFill>
                  <a:schemeClr val="accent5"/>
                </a:solidFill>
                <a:latin typeface="Inter 18pt 18pt Medium" panose="02000503000000020004" pitchFamily="2" charset="0"/>
                <a:ea typeface="Inter 18pt 18pt Medium" panose="02000503000000020004" pitchFamily="2" charset="0"/>
                <a:hlinkClick r:id="rId5">
                  <a:extLst>
                    <a:ext uri="{A12FA001-AC4F-418D-AE19-62706E023703}">
                      <ahyp:hlinkClr xmlns:ahyp="http://schemas.microsoft.com/office/drawing/2018/hyperlinkcolor" val="tx"/>
                    </a:ext>
                  </a:extLst>
                </a:hlinkClick>
              </a:rPr>
              <a:t>Tees Valley Key Priority Sectors</a:t>
            </a:r>
            <a:endParaRPr lang="en-GB" sz="2000">
              <a:solidFill>
                <a:schemeClr val="accent5"/>
              </a:solidFill>
              <a:latin typeface="Inter 18pt 18pt Medium" panose="02000503000000020004" pitchFamily="2" charset="0"/>
              <a:ea typeface="Inter 18pt 18pt Medium" panose="02000503000000020004" pitchFamily="2" charset="0"/>
            </a:endParaRPr>
          </a:p>
          <a:p>
            <a:endParaRPr lang="en-GB" sz="2000">
              <a:solidFill>
                <a:schemeClr val="accent5"/>
              </a:solidFill>
              <a:latin typeface="Inter 18pt 18pt Medium" panose="02000503000000020004" pitchFamily="2" charset="0"/>
              <a:ea typeface="Inter 18pt 18pt Medium" panose="02000503000000020004" pitchFamily="2" charset="0"/>
            </a:endParaRPr>
          </a:p>
          <a:p>
            <a:r>
              <a:rPr lang="en-GB" sz="2000">
                <a:solidFill>
                  <a:schemeClr val="accent5"/>
                </a:solidFill>
                <a:latin typeface="Inter 18pt 18pt Medium" panose="02000503000000020004" pitchFamily="2" charset="0"/>
                <a:ea typeface="Inter 18pt 18pt Medium" panose="02000503000000020004" pitchFamily="2" charset="0"/>
                <a:hlinkClick r:id="rId6">
                  <a:extLst>
                    <a:ext uri="{A12FA001-AC4F-418D-AE19-62706E023703}">
                      <ahyp:hlinkClr xmlns:ahyp="http://schemas.microsoft.com/office/drawing/2018/hyperlinkcolor" val="tx"/>
                    </a:ext>
                  </a:extLst>
                </a:hlinkClick>
              </a:rPr>
              <a:t>Tees Valley Labour Market Factsheets</a:t>
            </a:r>
            <a:endParaRPr lang="en-GB" sz="2000">
              <a:solidFill>
                <a:schemeClr val="accent5"/>
              </a:solidFill>
              <a:latin typeface="Inter 18pt 18pt Medium" panose="02000503000000020004" pitchFamily="2" charset="0"/>
              <a:ea typeface="Inter 18pt 18pt Medium" panose="02000503000000020004" pitchFamily="2" charset="0"/>
            </a:endParaRPr>
          </a:p>
          <a:p>
            <a:endParaRPr lang="en-GB" sz="2000">
              <a:solidFill>
                <a:schemeClr val="accent5"/>
              </a:solidFill>
              <a:latin typeface="Inter 18pt 18pt Medium" panose="02000503000000020004" pitchFamily="2" charset="0"/>
              <a:ea typeface="Inter 18pt 18pt Medium" panose="02000503000000020004" pitchFamily="2" charset="0"/>
            </a:endParaRPr>
          </a:p>
          <a:p>
            <a:r>
              <a:rPr lang="en-GB" sz="2000" err="1">
                <a:solidFill>
                  <a:schemeClr val="accent5"/>
                </a:solidFill>
                <a:latin typeface="Inter 18pt 18pt Medium" panose="02000503000000020004" pitchFamily="2" charset="0"/>
                <a:ea typeface="Inter 18pt 18pt Medium" panose="02000503000000020004" pitchFamily="2" charset="0"/>
                <a:hlinkClick r:id="rId7">
                  <a:extLst>
                    <a:ext uri="{A12FA001-AC4F-418D-AE19-62706E023703}">
                      <ahyp:hlinkClr xmlns:ahyp="http://schemas.microsoft.com/office/drawing/2018/hyperlinkcolor" val="tx"/>
                    </a:ext>
                  </a:extLst>
                </a:hlinkClick>
              </a:rPr>
              <a:t>Teesworks</a:t>
            </a:r>
            <a:endParaRPr lang="en-GB" sz="2000">
              <a:solidFill>
                <a:schemeClr val="accent5"/>
              </a:solidFill>
              <a:latin typeface="Inter 18pt 18pt Medium" panose="02000503000000020004" pitchFamily="2" charset="0"/>
              <a:ea typeface="Inter 18pt 18pt Medium" panose="02000503000000020004" pitchFamily="2" charset="0"/>
            </a:endParaRPr>
          </a:p>
          <a:p>
            <a:endParaRPr lang="en-GB" sz="2000">
              <a:solidFill>
                <a:schemeClr val="accent5"/>
              </a:solidFill>
              <a:latin typeface="Inter 18pt 18pt Medium" panose="02000503000000020004" pitchFamily="2" charset="0"/>
              <a:ea typeface="Inter 18pt 18pt Medium" panose="02000503000000020004" pitchFamily="2" charset="0"/>
            </a:endParaRPr>
          </a:p>
          <a:p>
            <a:r>
              <a:rPr lang="en-GB" sz="2000">
                <a:solidFill>
                  <a:schemeClr val="accent5"/>
                </a:solidFill>
                <a:latin typeface="Inter 18pt 18pt Medium" panose="02000503000000020004" pitchFamily="2" charset="0"/>
                <a:ea typeface="Inter 18pt 18pt Medium" panose="02000503000000020004" pitchFamily="2" charset="0"/>
                <a:hlinkClick r:id="rId8">
                  <a:extLst>
                    <a:ext uri="{A12FA001-AC4F-418D-AE19-62706E023703}">
                      <ahyp:hlinkClr xmlns:ahyp="http://schemas.microsoft.com/office/drawing/2018/hyperlinkcolor" val="tx"/>
                    </a:ext>
                  </a:extLst>
                </a:hlinkClick>
              </a:rPr>
              <a:t>National Careers Service</a:t>
            </a:r>
            <a:endParaRPr lang="en-GB" sz="2000">
              <a:solidFill>
                <a:schemeClr val="accent5"/>
              </a:solidFill>
              <a:latin typeface="Inter 18pt 18pt Medium" panose="02000503000000020004" pitchFamily="2" charset="0"/>
              <a:ea typeface="Inter 18pt 18pt Medium" panose="02000503000000020004" pitchFamily="2" charset="0"/>
            </a:endParaRPr>
          </a:p>
        </p:txBody>
      </p:sp>
      <p:sp>
        <p:nvSpPr>
          <p:cNvPr id="3" name="Title 2">
            <a:extLst>
              <a:ext uri="{FF2B5EF4-FFF2-40B4-BE49-F238E27FC236}">
                <a16:creationId xmlns:a16="http://schemas.microsoft.com/office/drawing/2014/main" id="{3F364A8F-5001-4FDB-B124-0E943CDBDC1A}"/>
              </a:ext>
            </a:extLst>
          </p:cNvPr>
          <p:cNvSpPr>
            <a:spLocks noGrp="1"/>
          </p:cNvSpPr>
          <p:nvPr>
            <p:ph type="title"/>
          </p:nvPr>
        </p:nvSpPr>
        <p:spPr/>
        <p:txBody>
          <a:bodyPr/>
          <a:lstStyle/>
          <a:p>
            <a:r>
              <a:rPr lang="en-GB"/>
              <a:t>What next…</a:t>
            </a:r>
            <a:br>
              <a:rPr lang="en-GB"/>
            </a:br>
            <a:r>
              <a:rPr lang="en-GB" sz="2400"/>
              <a:t>Take a look at these useful links:</a:t>
            </a:r>
          </a:p>
        </p:txBody>
      </p:sp>
      <p:pic>
        <p:nvPicPr>
          <p:cNvPr id="6" name="Picture 5" descr="A person and person wearing safety vests and helmets looking at a computer&#10;&#10;Description automatically generated">
            <a:extLst>
              <a:ext uri="{FF2B5EF4-FFF2-40B4-BE49-F238E27FC236}">
                <a16:creationId xmlns:a16="http://schemas.microsoft.com/office/drawing/2014/main" id="{9A14645B-1016-7352-BAB5-3C78520B5EF8}"/>
              </a:ext>
            </a:extLst>
          </p:cNvPr>
          <p:cNvPicPr>
            <a:picLocks noChangeAspect="1"/>
          </p:cNvPicPr>
          <p:nvPr/>
        </p:nvPicPr>
        <p:blipFill rotWithShape="1">
          <a:blip r:embed="rId9"/>
          <a:srcRect l="17562"/>
          <a:stretch/>
        </p:blipFill>
        <p:spPr>
          <a:xfrm>
            <a:off x="5784574" y="0"/>
            <a:ext cx="6407426" cy="5492373"/>
          </a:xfrm>
          <a:prstGeom prst="rect">
            <a:avLst/>
          </a:prstGeom>
        </p:spPr>
      </p:pic>
      <p:pic>
        <p:nvPicPr>
          <p:cNvPr id="2" name="Graphic 1">
            <a:extLst>
              <a:ext uri="{FF2B5EF4-FFF2-40B4-BE49-F238E27FC236}">
                <a16:creationId xmlns:a16="http://schemas.microsoft.com/office/drawing/2014/main" id="{9EC40639-CF9A-69DE-0E7D-17169FCA402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20588516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CA998-0BF1-9F00-0924-F19425B688BD}"/>
              </a:ext>
            </a:extLst>
          </p:cNvPr>
          <p:cNvSpPr>
            <a:spLocks noGrp="1"/>
          </p:cNvSpPr>
          <p:nvPr>
            <p:ph type="title"/>
          </p:nvPr>
        </p:nvSpPr>
        <p:spPr/>
        <p:txBody>
          <a:bodyPr/>
          <a:lstStyle/>
          <a:p>
            <a:r>
              <a:rPr lang="en-US"/>
              <a:t>Any questions?</a:t>
            </a:r>
          </a:p>
        </p:txBody>
      </p:sp>
      <p:pic>
        <p:nvPicPr>
          <p:cNvPr id="3" name="Graphic 2">
            <a:extLst>
              <a:ext uri="{FF2B5EF4-FFF2-40B4-BE49-F238E27FC236}">
                <a16:creationId xmlns:a16="http://schemas.microsoft.com/office/drawing/2014/main" id="{BCFEA2D0-BC92-3339-341B-DBBBFA3539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1277872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4B47E8C-0EC3-4485-B7FF-F20E3CAFFB19}"/>
              </a:ext>
            </a:extLst>
          </p:cNvPr>
          <p:cNvSpPr/>
          <p:nvPr/>
        </p:nvSpPr>
        <p:spPr>
          <a:xfrm>
            <a:off x="-115410" y="0"/>
            <a:ext cx="12192000" cy="6037101"/>
          </a:xfrm>
          <a:prstGeom prst="rect">
            <a:avLst/>
          </a:prstGeom>
          <a:solidFill>
            <a:srgbClr val="F1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50" name="Picture 2" descr="https://www.cummins.com/sites/default/files/styles/hero_feature/public/2021-12/chrisjparkerphotography-darlington-plant-1920x1080px.jpg?h=d1cb525d&amp;itok=X8j0PwwT">
            <a:extLst>
              <a:ext uri="{FF2B5EF4-FFF2-40B4-BE49-F238E27FC236}">
                <a16:creationId xmlns:a16="http://schemas.microsoft.com/office/drawing/2014/main" id="{539341E1-D6C6-4F2B-B39A-AD79B0AB17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781" t="35877" r="38985" b="9132"/>
          <a:stretch/>
        </p:blipFill>
        <p:spPr bwMode="auto">
          <a:xfrm>
            <a:off x="6096000" y="0"/>
            <a:ext cx="6096000" cy="603710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5B8BCA7C-259A-320E-269A-BE6C27CAEEDB}"/>
              </a:ext>
            </a:extLst>
          </p:cNvPr>
          <p:cNvSpPr>
            <a:spLocks noGrp="1"/>
          </p:cNvSpPr>
          <p:nvPr>
            <p:ph type="body" sz="quarter" idx="10"/>
          </p:nvPr>
        </p:nvSpPr>
        <p:spPr>
          <a:xfrm>
            <a:off x="333375" y="1276425"/>
            <a:ext cx="5224145" cy="3306762"/>
          </a:xfrm>
        </p:spPr>
        <p:txBody>
          <a:bodyPr/>
          <a:lstStyle/>
          <a:p>
            <a:r>
              <a:rPr lang="en-GB" sz="1600"/>
              <a:t>There are various job roles within the Cummins factory in Darlington, with jobs in finance, HR, Engineering and many more.</a:t>
            </a:r>
          </a:p>
          <a:p>
            <a:r>
              <a:rPr lang="en-GB" sz="1600" b="1"/>
              <a:t>Engineering</a:t>
            </a:r>
            <a:endParaRPr lang="en-GB" sz="1600"/>
          </a:p>
          <a:p>
            <a:r>
              <a:rPr lang="en-GB" sz="1600"/>
              <a:t>The role that we’re going to look at today is that of an Engineer. Above all else an Engineer is a problem solver; someone who can design something to make things easier, more efficient, and generally improved, for people, the environment and the world in general.</a:t>
            </a:r>
          </a:p>
          <a:p>
            <a:r>
              <a:rPr lang="en-GB" sz="1600"/>
              <a:t>We are going to take a look at some potential challenges budding Engineers might face when coming into the Engineering Industry in the Teesside area. Take a look at the video on the next slide:</a:t>
            </a:r>
          </a:p>
          <a:p>
            <a:endParaRPr lang="en-US" sz="1600"/>
          </a:p>
        </p:txBody>
      </p:sp>
      <p:sp>
        <p:nvSpPr>
          <p:cNvPr id="6" name="Title 5">
            <a:extLst>
              <a:ext uri="{FF2B5EF4-FFF2-40B4-BE49-F238E27FC236}">
                <a16:creationId xmlns:a16="http://schemas.microsoft.com/office/drawing/2014/main" id="{AC6F5155-7184-D149-7E90-0A996B92CF16}"/>
              </a:ext>
            </a:extLst>
          </p:cNvPr>
          <p:cNvSpPr>
            <a:spLocks noGrp="1"/>
          </p:cNvSpPr>
          <p:nvPr>
            <p:ph type="title"/>
          </p:nvPr>
        </p:nvSpPr>
        <p:spPr/>
        <p:txBody>
          <a:bodyPr/>
          <a:lstStyle/>
          <a:p>
            <a:r>
              <a:rPr lang="en-GB"/>
              <a:t>Relevance of Cummins:</a:t>
            </a:r>
          </a:p>
        </p:txBody>
      </p:sp>
      <p:pic>
        <p:nvPicPr>
          <p:cNvPr id="5" name="Graphic 4">
            <a:extLst>
              <a:ext uri="{FF2B5EF4-FFF2-40B4-BE49-F238E27FC236}">
                <a16:creationId xmlns:a16="http://schemas.microsoft.com/office/drawing/2014/main" id="{378B4F20-0E24-5A69-9C01-505E866781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108703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1" title="Welcome to the Cummins campus at Darlington UK">
            <a:hlinkClick r:id="" action="ppaction://media"/>
            <a:extLst>
              <a:ext uri="{FF2B5EF4-FFF2-40B4-BE49-F238E27FC236}">
                <a16:creationId xmlns:a16="http://schemas.microsoft.com/office/drawing/2014/main" id="{4AF32305-87E7-44D5-AB97-F30583254263}"/>
              </a:ext>
            </a:extLst>
          </p:cNvPr>
          <p:cNvPicPr>
            <a:picLocks noRot="1" noChangeAspect="1"/>
          </p:cNvPicPr>
          <p:nvPr>
            <a:videoFile r:link="rId1"/>
          </p:nvPr>
        </p:nvPicPr>
        <p:blipFill>
          <a:blip r:embed="rId4"/>
          <a:stretch>
            <a:fillRect/>
          </a:stretch>
        </p:blipFill>
        <p:spPr>
          <a:xfrm>
            <a:off x="2" y="0"/>
            <a:ext cx="12191998" cy="6858000"/>
          </a:xfrm>
          <a:prstGeom prst="rect">
            <a:avLst/>
          </a:prstGeom>
        </p:spPr>
      </p:pic>
    </p:spTree>
    <p:extLst>
      <p:ext uri="{BB962C8B-B14F-4D97-AF65-F5344CB8AC3E}">
        <p14:creationId xmlns:p14="http://schemas.microsoft.com/office/powerpoint/2010/main" val="41504275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6F5155-7184-D149-7E90-0A996B92CF16}"/>
              </a:ext>
            </a:extLst>
          </p:cNvPr>
          <p:cNvSpPr>
            <a:spLocks noGrp="1"/>
          </p:cNvSpPr>
          <p:nvPr>
            <p:ph type="title"/>
          </p:nvPr>
        </p:nvSpPr>
        <p:spPr/>
        <p:txBody>
          <a:bodyPr/>
          <a:lstStyle/>
          <a:p>
            <a:r>
              <a:rPr lang="en-GB"/>
              <a:t>Engineering jobs:</a:t>
            </a:r>
          </a:p>
        </p:txBody>
      </p:sp>
      <p:sp>
        <p:nvSpPr>
          <p:cNvPr id="5" name="TextBox 4">
            <a:extLst>
              <a:ext uri="{FF2B5EF4-FFF2-40B4-BE49-F238E27FC236}">
                <a16:creationId xmlns:a16="http://schemas.microsoft.com/office/drawing/2014/main" id="{58A4F708-2F04-4DF7-8085-BEC55FACB8B3}"/>
              </a:ext>
            </a:extLst>
          </p:cNvPr>
          <p:cNvSpPr txBox="1"/>
          <p:nvPr/>
        </p:nvSpPr>
        <p:spPr>
          <a:xfrm>
            <a:off x="334109" y="1219982"/>
            <a:ext cx="5996624" cy="1477328"/>
          </a:xfrm>
          <a:prstGeom prst="rect">
            <a:avLst/>
          </a:prstGeom>
          <a:noFill/>
        </p:spPr>
        <p:txBody>
          <a:bodyPr wrap="square" rtlCol="0">
            <a:spAutoFit/>
          </a:bodyPr>
          <a:lstStyle/>
          <a:p>
            <a:r>
              <a:rPr lang="en-GB">
                <a:solidFill>
                  <a:schemeClr val="tx2"/>
                </a:solidFill>
                <a:latin typeface="Inter" panose="02000503000000020004" pitchFamily="2" charset="0"/>
                <a:ea typeface="Inter" panose="02000503000000020004" pitchFamily="2" charset="0"/>
              </a:rPr>
              <a:t>Here are a sample of some of the Engineering job roles that are most required in the Automotive (Cummins) and Aerospace sectors.</a:t>
            </a:r>
          </a:p>
          <a:p>
            <a:endParaRPr lang="en-GB">
              <a:solidFill>
                <a:schemeClr val="tx2"/>
              </a:solidFill>
              <a:latin typeface="Inter" panose="02000503000000020004" pitchFamily="2" charset="0"/>
              <a:ea typeface="Inter" panose="02000503000000020004" pitchFamily="2" charset="0"/>
            </a:endParaRPr>
          </a:p>
          <a:p>
            <a:endParaRPr lang="en-GB">
              <a:solidFill>
                <a:schemeClr val="tx2"/>
              </a:solidFill>
              <a:latin typeface="Inter" panose="02000503000000020004" pitchFamily="2" charset="0"/>
              <a:ea typeface="Inter" panose="02000503000000020004" pitchFamily="2" charset="0"/>
            </a:endParaRPr>
          </a:p>
        </p:txBody>
      </p:sp>
      <p:sp>
        <p:nvSpPr>
          <p:cNvPr id="8" name="TextBox 7">
            <a:extLst>
              <a:ext uri="{FF2B5EF4-FFF2-40B4-BE49-F238E27FC236}">
                <a16:creationId xmlns:a16="http://schemas.microsoft.com/office/drawing/2014/main" id="{A0B7AF3B-5E64-4D74-9E0D-A711ABD55214}"/>
              </a:ext>
            </a:extLst>
          </p:cNvPr>
          <p:cNvSpPr txBox="1"/>
          <p:nvPr/>
        </p:nvSpPr>
        <p:spPr>
          <a:xfrm>
            <a:off x="6773153" y="1226838"/>
            <a:ext cx="4915017" cy="1200329"/>
          </a:xfrm>
          <a:prstGeom prst="rect">
            <a:avLst/>
          </a:prstGeom>
          <a:noFill/>
        </p:spPr>
        <p:txBody>
          <a:bodyPr wrap="square" rtlCol="0">
            <a:spAutoFit/>
          </a:bodyPr>
          <a:lstStyle/>
          <a:p>
            <a:r>
              <a:rPr lang="en-GB">
                <a:solidFill>
                  <a:schemeClr val="tx2"/>
                </a:solidFill>
                <a:latin typeface="Inter" panose="02000503000000020004" pitchFamily="2" charset="0"/>
                <a:ea typeface="Inter" panose="02000503000000020004" pitchFamily="2" charset="0"/>
              </a:rPr>
              <a:t>Below are some of the skills and traits of people who make excellent Engineers.</a:t>
            </a:r>
          </a:p>
          <a:p>
            <a:endParaRPr lang="en-GB">
              <a:solidFill>
                <a:schemeClr val="tx2"/>
              </a:solidFill>
              <a:latin typeface="Inter" panose="02000503000000020004" pitchFamily="2" charset="0"/>
              <a:ea typeface="Inter" panose="02000503000000020004" pitchFamily="2" charset="0"/>
            </a:endParaRPr>
          </a:p>
          <a:p>
            <a:endParaRPr lang="en-GB">
              <a:solidFill>
                <a:schemeClr val="tx2"/>
              </a:solidFill>
              <a:latin typeface="Inter" panose="02000503000000020004" pitchFamily="2" charset="0"/>
              <a:ea typeface="Inter" panose="02000503000000020004" pitchFamily="2" charset="0"/>
            </a:endParaRPr>
          </a:p>
        </p:txBody>
      </p:sp>
      <p:pic>
        <p:nvPicPr>
          <p:cNvPr id="10" name="Graphic 9">
            <a:extLst>
              <a:ext uri="{FF2B5EF4-FFF2-40B4-BE49-F238E27FC236}">
                <a16:creationId xmlns:a16="http://schemas.microsoft.com/office/drawing/2014/main" id="{514C221F-6272-B6D4-CCC8-53D3FA0E5C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33088" y="4307168"/>
            <a:ext cx="870401" cy="870401"/>
          </a:xfrm>
          <a:prstGeom prst="rect">
            <a:avLst/>
          </a:prstGeom>
        </p:spPr>
      </p:pic>
      <p:pic>
        <p:nvPicPr>
          <p:cNvPr id="14" name="Graphic 13">
            <a:extLst>
              <a:ext uri="{FF2B5EF4-FFF2-40B4-BE49-F238E27FC236}">
                <a16:creationId xmlns:a16="http://schemas.microsoft.com/office/drawing/2014/main" id="{F87A7574-A372-A574-386F-7D129EE7565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5068" y="4372540"/>
            <a:ext cx="837038" cy="837038"/>
          </a:xfrm>
          <a:prstGeom prst="rect">
            <a:avLst/>
          </a:prstGeom>
        </p:spPr>
      </p:pic>
      <p:pic>
        <p:nvPicPr>
          <p:cNvPr id="19" name="Graphic 18">
            <a:extLst>
              <a:ext uri="{FF2B5EF4-FFF2-40B4-BE49-F238E27FC236}">
                <a16:creationId xmlns:a16="http://schemas.microsoft.com/office/drawing/2014/main" id="{5CB1E59D-4176-C099-181A-2CB2B9B0E0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60997" y="4201691"/>
            <a:ext cx="1186657" cy="1186657"/>
          </a:xfrm>
          <a:prstGeom prst="rect">
            <a:avLst/>
          </a:prstGeom>
        </p:spPr>
      </p:pic>
      <p:pic>
        <p:nvPicPr>
          <p:cNvPr id="21" name="Graphic 20">
            <a:extLst>
              <a:ext uri="{FF2B5EF4-FFF2-40B4-BE49-F238E27FC236}">
                <a16:creationId xmlns:a16="http://schemas.microsoft.com/office/drawing/2014/main" id="{9EDA4E82-EFBC-1CBC-9E91-1D95E7D06A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8667" y="2486285"/>
            <a:ext cx="1007909" cy="1007909"/>
          </a:xfrm>
          <a:prstGeom prst="rect">
            <a:avLst/>
          </a:prstGeom>
        </p:spPr>
      </p:pic>
      <p:pic>
        <p:nvPicPr>
          <p:cNvPr id="23" name="Graphic 22">
            <a:extLst>
              <a:ext uri="{FF2B5EF4-FFF2-40B4-BE49-F238E27FC236}">
                <a16:creationId xmlns:a16="http://schemas.microsoft.com/office/drawing/2014/main" id="{A0BD679F-0C66-772C-4695-969DABBA7B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46512" y="2461536"/>
            <a:ext cx="1076506" cy="1076506"/>
          </a:xfrm>
          <a:prstGeom prst="rect">
            <a:avLst/>
          </a:prstGeom>
        </p:spPr>
      </p:pic>
      <p:pic>
        <p:nvPicPr>
          <p:cNvPr id="25" name="Graphic 24">
            <a:extLst>
              <a:ext uri="{FF2B5EF4-FFF2-40B4-BE49-F238E27FC236}">
                <a16:creationId xmlns:a16="http://schemas.microsoft.com/office/drawing/2014/main" id="{7B683DCD-7E34-78E9-7D37-75BA13F9770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05467" y="2454192"/>
            <a:ext cx="1110607" cy="1110607"/>
          </a:xfrm>
          <a:prstGeom prst="rect">
            <a:avLst/>
          </a:prstGeom>
        </p:spPr>
      </p:pic>
      <p:pic>
        <p:nvPicPr>
          <p:cNvPr id="27" name="Graphic 26">
            <a:extLst>
              <a:ext uri="{FF2B5EF4-FFF2-40B4-BE49-F238E27FC236}">
                <a16:creationId xmlns:a16="http://schemas.microsoft.com/office/drawing/2014/main" id="{48EDD306-C896-33B1-8A5D-09C4CA2F259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924390" y="4174117"/>
            <a:ext cx="1180643" cy="1180643"/>
          </a:xfrm>
          <a:prstGeom prst="rect">
            <a:avLst/>
          </a:prstGeom>
        </p:spPr>
      </p:pic>
      <p:pic>
        <p:nvPicPr>
          <p:cNvPr id="29" name="Graphic 28">
            <a:extLst>
              <a:ext uri="{FF2B5EF4-FFF2-40B4-BE49-F238E27FC236}">
                <a16:creationId xmlns:a16="http://schemas.microsoft.com/office/drawing/2014/main" id="{15F8CAAC-0399-E610-16FC-0369B0D9FAE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38621" y="2503752"/>
            <a:ext cx="1110607" cy="1110607"/>
          </a:xfrm>
          <a:prstGeom prst="rect">
            <a:avLst/>
          </a:prstGeom>
        </p:spPr>
      </p:pic>
      <p:sp>
        <p:nvSpPr>
          <p:cNvPr id="30" name="TextBox 29">
            <a:extLst>
              <a:ext uri="{FF2B5EF4-FFF2-40B4-BE49-F238E27FC236}">
                <a16:creationId xmlns:a16="http://schemas.microsoft.com/office/drawing/2014/main" id="{B5E5410D-2B33-46F4-8ED2-09676F4E1ED4}"/>
              </a:ext>
            </a:extLst>
          </p:cNvPr>
          <p:cNvSpPr txBox="1"/>
          <p:nvPr/>
        </p:nvSpPr>
        <p:spPr>
          <a:xfrm>
            <a:off x="448527" y="3575656"/>
            <a:ext cx="1540130"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Electric Vehicle Manufacturing</a:t>
            </a:r>
          </a:p>
        </p:txBody>
      </p:sp>
      <p:sp>
        <p:nvSpPr>
          <p:cNvPr id="31" name="TextBox 30">
            <a:extLst>
              <a:ext uri="{FF2B5EF4-FFF2-40B4-BE49-F238E27FC236}">
                <a16:creationId xmlns:a16="http://schemas.microsoft.com/office/drawing/2014/main" id="{1F64DD21-DD7B-AE43-DA07-C176093BB6B6}"/>
              </a:ext>
            </a:extLst>
          </p:cNvPr>
          <p:cNvSpPr txBox="1"/>
          <p:nvPr/>
        </p:nvSpPr>
        <p:spPr>
          <a:xfrm>
            <a:off x="2048464" y="3575656"/>
            <a:ext cx="1180642"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Automation</a:t>
            </a:r>
            <a:br>
              <a:rPr lang="en-US" sz="1400">
                <a:solidFill>
                  <a:schemeClr val="accent5"/>
                </a:solidFill>
                <a:latin typeface="Inter" panose="020B0502030000000004" pitchFamily="34" charset="0"/>
                <a:ea typeface="Inter" panose="020B0502030000000004" pitchFamily="34" charset="0"/>
              </a:rPr>
            </a:br>
            <a:r>
              <a:rPr lang="en-US" sz="1400">
                <a:solidFill>
                  <a:schemeClr val="accent5"/>
                </a:solidFill>
                <a:latin typeface="Inter" panose="020B0502030000000004" pitchFamily="34" charset="0"/>
                <a:ea typeface="Inter" panose="020B0502030000000004" pitchFamily="34" charset="0"/>
              </a:rPr>
              <a:t>&amp; Robotics</a:t>
            </a:r>
          </a:p>
        </p:txBody>
      </p:sp>
      <p:sp>
        <p:nvSpPr>
          <p:cNvPr id="32" name="TextBox 31">
            <a:extLst>
              <a:ext uri="{FF2B5EF4-FFF2-40B4-BE49-F238E27FC236}">
                <a16:creationId xmlns:a16="http://schemas.microsoft.com/office/drawing/2014/main" id="{384B84BB-2D4C-93B1-423D-BF08D9C33D47}"/>
              </a:ext>
            </a:extLst>
          </p:cNvPr>
          <p:cNvSpPr txBox="1"/>
          <p:nvPr/>
        </p:nvSpPr>
        <p:spPr>
          <a:xfrm>
            <a:off x="3483480" y="3575656"/>
            <a:ext cx="1180642"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Automotive</a:t>
            </a:r>
            <a:br>
              <a:rPr lang="en-US" sz="1400">
                <a:solidFill>
                  <a:schemeClr val="accent5"/>
                </a:solidFill>
                <a:latin typeface="Inter" panose="020B0502030000000004" pitchFamily="34" charset="0"/>
                <a:ea typeface="Inter" panose="020B0502030000000004" pitchFamily="34" charset="0"/>
              </a:rPr>
            </a:br>
            <a:r>
              <a:rPr lang="en-US" sz="1400">
                <a:solidFill>
                  <a:schemeClr val="accent5"/>
                </a:solidFill>
                <a:latin typeface="Inter" panose="020B0502030000000004" pitchFamily="34" charset="0"/>
                <a:ea typeface="Inter" panose="020B0502030000000004" pitchFamily="34" charset="0"/>
              </a:rPr>
              <a:t>Engineering</a:t>
            </a:r>
          </a:p>
        </p:txBody>
      </p:sp>
      <p:sp>
        <p:nvSpPr>
          <p:cNvPr id="33" name="TextBox 32">
            <a:extLst>
              <a:ext uri="{FF2B5EF4-FFF2-40B4-BE49-F238E27FC236}">
                <a16:creationId xmlns:a16="http://schemas.microsoft.com/office/drawing/2014/main" id="{420B6C1B-3C53-0B37-FEA2-90A1D3FDF3B9}"/>
              </a:ext>
            </a:extLst>
          </p:cNvPr>
          <p:cNvSpPr txBox="1"/>
          <p:nvPr/>
        </p:nvSpPr>
        <p:spPr>
          <a:xfrm>
            <a:off x="5035617" y="3575656"/>
            <a:ext cx="1180641"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Research &amp; Development</a:t>
            </a:r>
          </a:p>
        </p:txBody>
      </p:sp>
      <p:sp>
        <p:nvSpPr>
          <p:cNvPr id="34" name="TextBox 33">
            <a:extLst>
              <a:ext uri="{FF2B5EF4-FFF2-40B4-BE49-F238E27FC236}">
                <a16:creationId xmlns:a16="http://schemas.microsoft.com/office/drawing/2014/main" id="{12821F12-22F7-8B03-D139-C1C1FEF7008A}"/>
              </a:ext>
            </a:extLst>
          </p:cNvPr>
          <p:cNvSpPr txBox="1"/>
          <p:nvPr/>
        </p:nvSpPr>
        <p:spPr>
          <a:xfrm>
            <a:off x="448527" y="5354760"/>
            <a:ext cx="1540130"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Maintenance </a:t>
            </a:r>
            <a:br>
              <a:rPr lang="en-US" sz="1400">
                <a:solidFill>
                  <a:schemeClr val="accent5"/>
                </a:solidFill>
                <a:latin typeface="Inter" panose="020B0502030000000004" pitchFamily="34" charset="0"/>
                <a:ea typeface="Inter" panose="020B0502030000000004" pitchFamily="34" charset="0"/>
              </a:rPr>
            </a:br>
            <a:r>
              <a:rPr lang="en-US" sz="1400">
                <a:solidFill>
                  <a:schemeClr val="accent5"/>
                </a:solidFill>
                <a:latin typeface="Inter" panose="020B0502030000000004" pitchFamily="34" charset="0"/>
                <a:ea typeface="Inter" panose="020B0502030000000004" pitchFamily="34" charset="0"/>
              </a:rPr>
              <a:t>&amp; Repair</a:t>
            </a:r>
          </a:p>
        </p:txBody>
      </p:sp>
      <p:sp>
        <p:nvSpPr>
          <p:cNvPr id="35" name="TextBox 34">
            <a:extLst>
              <a:ext uri="{FF2B5EF4-FFF2-40B4-BE49-F238E27FC236}">
                <a16:creationId xmlns:a16="http://schemas.microsoft.com/office/drawing/2014/main" id="{5E72CF84-EA3B-63B1-7DDD-C96F752EB6EC}"/>
              </a:ext>
            </a:extLst>
          </p:cNvPr>
          <p:cNvSpPr txBox="1"/>
          <p:nvPr/>
        </p:nvSpPr>
        <p:spPr>
          <a:xfrm>
            <a:off x="2048464" y="5354760"/>
            <a:ext cx="1155329"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Software</a:t>
            </a:r>
          </a:p>
          <a:p>
            <a:r>
              <a:rPr lang="en-US" sz="1400">
                <a:solidFill>
                  <a:schemeClr val="accent5"/>
                </a:solidFill>
                <a:latin typeface="Inter" panose="020B0502030000000004" pitchFamily="34" charset="0"/>
                <a:ea typeface="Inter" panose="020B0502030000000004" pitchFamily="34" charset="0"/>
              </a:rPr>
              <a:t>Integration</a:t>
            </a:r>
          </a:p>
        </p:txBody>
      </p:sp>
      <p:sp>
        <p:nvSpPr>
          <p:cNvPr id="36" name="TextBox 35">
            <a:extLst>
              <a:ext uri="{FF2B5EF4-FFF2-40B4-BE49-F238E27FC236}">
                <a16:creationId xmlns:a16="http://schemas.microsoft.com/office/drawing/2014/main" id="{342C3B3F-9B61-F608-F12B-D823166B9B8C}"/>
              </a:ext>
            </a:extLst>
          </p:cNvPr>
          <p:cNvSpPr txBox="1"/>
          <p:nvPr/>
        </p:nvSpPr>
        <p:spPr>
          <a:xfrm>
            <a:off x="3483480" y="5354760"/>
            <a:ext cx="1452296"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Environmental Compliance</a:t>
            </a:r>
          </a:p>
        </p:txBody>
      </p:sp>
      <p:sp>
        <p:nvSpPr>
          <p:cNvPr id="37" name="TextBox 36">
            <a:extLst>
              <a:ext uri="{FF2B5EF4-FFF2-40B4-BE49-F238E27FC236}">
                <a16:creationId xmlns:a16="http://schemas.microsoft.com/office/drawing/2014/main" id="{16B23AA8-5447-3C14-4D58-D98945A9DB73}"/>
              </a:ext>
            </a:extLst>
          </p:cNvPr>
          <p:cNvSpPr txBox="1"/>
          <p:nvPr/>
        </p:nvSpPr>
        <p:spPr>
          <a:xfrm>
            <a:off x="5035617" y="5354760"/>
            <a:ext cx="1180637"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Logistics &amp; Supply Chain</a:t>
            </a:r>
          </a:p>
        </p:txBody>
      </p:sp>
      <p:cxnSp>
        <p:nvCxnSpPr>
          <p:cNvPr id="39" name="Straight Connector 38">
            <a:extLst>
              <a:ext uri="{FF2B5EF4-FFF2-40B4-BE49-F238E27FC236}">
                <a16:creationId xmlns:a16="http://schemas.microsoft.com/office/drawing/2014/main" id="{AFF62C00-6F34-C649-C613-134DA5440EB8}"/>
              </a:ext>
            </a:extLst>
          </p:cNvPr>
          <p:cNvCxnSpPr>
            <a:cxnSpLocks/>
          </p:cNvCxnSpPr>
          <p:nvPr/>
        </p:nvCxnSpPr>
        <p:spPr>
          <a:xfrm>
            <a:off x="6494363" y="996462"/>
            <a:ext cx="0" cy="5205555"/>
          </a:xfrm>
          <a:prstGeom prst="line">
            <a:avLst/>
          </a:prstGeom>
          <a:ln/>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83A9DFB0-685E-82B7-493C-26DF35C07996}"/>
              </a:ext>
            </a:extLst>
          </p:cNvPr>
          <p:cNvSpPr txBox="1"/>
          <p:nvPr/>
        </p:nvSpPr>
        <p:spPr>
          <a:xfrm>
            <a:off x="8477976" y="2054845"/>
            <a:ext cx="1557154" cy="153888"/>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TECHNICAL SKILLS</a:t>
            </a:r>
          </a:p>
        </p:txBody>
      </p:sp>
      <p:sp>
        <p:nvSpPr>
          <p:cNvPr id="46" name="TextBox 45">
            <a:extLst>
              <a:ext uri="{FF2B5EF4-FFF2-40B4-BE49-F238E27FC236}">
                <a16:creationId xmlns:a16="http://schemas.microsoft.com/office/drawing/2014/main" id="{E96D9B0D-D6E6-EC59-154F-27290BA56E9C}"/>
              </a:ext>
            </a:extLst>
          </p:cNvPr>
          <p:cNvSpPr txBox="1"/>
          <p:nvPr/>
        </p:nvSpPr>
        <p:spPr>
          <a:xfrm>
            <a:off x="10632374" y="2845900"/>
            <a:ext cx="1012791" cy="307777"/>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PROBLEM SOLVING</a:t>
            </a:r>
          </a:p>
        </p:txBody>
      </p:sp>
      <p:sp>
        <p:nvSpPr>
          <p:cNvPr id="48" name="TextBox 47">
            <a:extLst>
              <a:ext uri="{FF2B5EF4-FFF2-40B4-BE49-F238E27FC236}">
                <a16:creationId xmlns:a16="http://schemas.microsoft.com/office/drawing/2014/main" id="{AEEED9C2-B33A-0838-0A63-81CD8482B023}"/>
              </a:ext>
            </a:extLst>
          </p:cNvPr>
          <p:cNvSpPr txBox="1"/>
          <p:nvPr/>
        </p:nvSpPr>
        <p:spPr>
          <a:xfrm>
            <a:off x="10685721" y="4295166"/>
            <a:ext cx="1012791" cy="153888"/>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TEAMWORK</a:t>
            </a:r>
          </a:p>
        </p:txBody>
      </p:sp>
      <p:sp>
        <p:nvSpPr>
          <p:cNvPr id="51" name="TextBox 50">
            <a:extLst>
              <a:ext uri="{FF2B5EF4-FFF2-40B4-BE49-F238E27FC236}">
                <a16:creationId xmlns:a16="http://schemas.microsoft.com/office/drawing/2014/main" id="{3C37288E-E3F4-5111-B277-408D7F52700C}"/>
              </a:ext>
            </a:extLst>
          </p:cNvPr>
          <p:cNvSpPr txBox="1"/>
          <p:nvPr/>
        </p:nvSpPr>
        <p:spPr>
          <a:xfrm>
            <a:off x="10689002" y="5053071"/>
            <a:ext cx="1012791" cy="307777"/>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ATTENTION </a:t>
            </a:r>
            <a:br>
              <a:rPr lang="en-US" sz="1000">
                <a:solidFill>
                  <a:schemeClr val="accent5"/>
                </a:solidFill>
                <a:latin typeface="Inter" panose="020B0502030000000004" pitchFamily="34" charset="0"/>
                <a:ea typeface="Inter" panose="020B0502030000000004" pitchFamily="34" charset="0"/>
              </a:rPr>
            </a:br>
            <a:r>
              <a:rPr lang="en-US" sz="1000">
                <a:solidFill>
                  <a:schemeClr val="accent5"/>
                </a:solidFill>
                <a:latin typeface="Inter" panose="020B0502030000000004" pitchFamily="34" charset="0"/>
                <a:ea typeface="Inter" panose="020B0502030000000004" pitchFamily="34" charset="0"/>
              </a:rPr>
              <a:t>TO DETAIL</a:t>
            </a:r>
          </a:p>
        </p:txBody>
      </p:sp>
      <p:sp>
        <p:nvSpPr>
          <p:cNvPr id="52" name="TextBox 51">
            <a:extLst>
              <a:ext uri="{FF2B5EF4-FFF2-40B4-BE49-F238E27FC236}">
                <a16:creationId xmlns:a16="http://schemas.microsoft.com/office/drawing/2014/main" id="{84B61406-BFFE-7929-A65B-1B79086F6123}"/>
              </a:ext>
            </a:extLst>
          </p:cNvPr>
          <p:cNvSpPr txBox="1"/>
          <p:nvPr/>
        </p:nvSpPr>
        <p:spPr>
          <a:xfrm>
            <a:off x="8651378" y="5876818"/>
            <a:ext cx="1012791" cy="153888"/>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ADAPTABILITY</a:t>
            </a:r>
          </a:p>
        </p:txBody>
      </p:sp>
      <p:sp>
        <p:nvSpPr>
          <p:cNvPr id="53" name="TextBox 52">
            <a:extLst>
              <a:ext uri="{FF2B5EF4-FFF2-40B4-BE49-F238E27FC236}">
                <a16:creationId xmlns:a16="http://schemas.microsoft.com/office/drawing/2014/main" id="{47CA5304-C908-B27F-1B9D-E75F1B56A747}"/>
              </a:ext>
            </a:extLst>
          </p:cNvPr>
          <p:cNvSpPr txBox="1"/>
          <p:nvPr/>
        </p:nvSpPr>
        <p:spPr>
          <a:xfrm>
            <a:off x="7051764" y="5443716"/>
            <a:ext cx="1263403" cy="153888"/>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COMMUNICATION</a:t>
            </a:r>
          </a:p>
        </p:txBody>
      </p:sp>
      <p:sp>
        <p:nvSpPr>
          <p:cNvPr id="54" name="TextBox 53">
            <a:extLst>
              <a:ext uri="{FF2B5EF4-FFF2-40B4-BE49-F238E27FC236}">
                <a16:creationId xmlns:a16="http://schemas.microsoft.com/office/drawing/2014/main" id="{84D97423-84E5-CFFB-84D4-727C47725FCF}"/>
              </a:ext>
            </a:extLst>
          </p:cNvPr>
          <p:cNvSpPr txBox="1"/>
          <p:nvPr/>
        </p:nvSpPr>
        <p:spPr>
          <a:xfrm>
            <a:off x="6915629" y="4372110"/>
            <a:ext cx="1263403" cy="307777"/>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TIME MANAGEMENT</a:t>
            </a:r>
          </a:p>
        </p:txBody>
      </p:sp>
      <p:sp>
        <p:nvSpPr>
          <p:cNvPr id="55" name="TextBox 54">
            <a:extLst>
              <a:ext uri="{FF2B5EF4-FFF2-40B4-BE49-F238E27FC236}">
                <a16:creationId xmlns:a16="http://schemas.microsoft.com/office/drawing/2014/main" id="{BC5FE55D-C11C-577E-AF0B-48810F5CC295}"/>
              </a:ext>
            </a:extLst>
          </p:cNvPr>
          <p:cNvSpPr txBox="1"/>
          <p:nvPr/>
        </p:nvSpPr>
        <p:spPr>
          <a:xfrm>
            <a:off x="6908190" y="2880553"/>
            <a:ext cx="1263403" cy="307777"/>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SAFETY AWARENESS</a:t>
            </a:r>
          </a:p>
        </p:txBody>
      </p:sp>
      <p:pic>
        <p:nvPicPr>
          <p:cNvPr id="57" name="Graphic 56">
            <a:extLst>
              <a:ext uri="{FF2B5EF4-FFF2-40B4-BE49-F238E27FC236}">
                <a16:creationId xmlns:a16="http://schemas.microsoft.com/office/drawing/2014/main" id="{F12C284B-F50F-2DA6-B73E-3044145349B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84424" y="1701493"/>
            <a:ext cx="5346700" cy="4610100"/>
          </a:xfrm>
          <a:prstGeom prst="rect">
            <a:avLst/>
          </a:prstGeom>
        </p:spPr>
      </p:pic>
      <p:pic>
        <p:nvPicPr>
          <p:cNvPr id="9" name="Graphic 8">
            <a:extLst>
              <a:ext uri="{FF2B5EF4-FFF2-40B4-BE49-F238E27FC236}">
                <a16:creationId xmlns:a16="http://schemas.microsoft.com/office/drawing/2014/main" id="{20CE1949-ACBC-59D3-6149-5731FD32FDC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192850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6F5155-7184-D149-7E90-0A996B92CF16}"/>
              </a:ext>
            </a:extLst>
          </p:cNvPr>
          <p:cNvSpPr>
            <a:spLocks noGrp="1"/>
          </p:cNvSpPr>
          <p:nvPr>
            <p:ph type="title"/>
          </p:nvPr>
        </p:nvSpPr>
        <p:spPr/>
        <p:txBody>
          <a:bodyPr/>
          <a:lstStyle/>
          <a:p>
            <a:r>
              <a:rPr lang="en-GB"/>
              <a:t>Energy &amp; Low Carbon jobs:</a:t>
            </a:r>
          </a:p>
        </p:txBody>
      </p:sp>
      <p:sp>
        <p:nvSpPr>
          <p:cNvPr id="15" name="TextBox 14">
            <a:extLst>
              <a:ext uri="{FF2B5EF4-FFF2-40B4-BE49-F238E27FC236}">
                <a16:creationId xmlns:a16="http://schemas.microsoft.com/office/drawing/2014/main" id="{E9838949-5203-4369-B451-05803326365B}"/>
              </a:ext>
            </a:extLst>
          </p:cNvPr>
          <p:cNvSpPr txBox="1"/>
          <p:nvPr/>
        </p:nvSpPr>
        <p:spPr>
          <a:xfrm>
            <a:off x="334108" y="1225062"/>
            <a:ext cx="6427429" cy="1200329"/>
          </a:xfrm>
          <a:prstGeom prst="rect">
            <a:avLst/>
          </a:prstGeom>
          <a:noFill/>
        </p:spPr>
        <p:txBody>
          <a:bodyPr wrap="square" rtlCol="0">
            <a:spAutoFit/>
          </a:bodyPr>
          <a:lstStyle/>
          <a:p>
            <a:r>
              <a:rPr lang="en-GB">
                <a:solidFill>
                  <a:schemeClr val="tx2"/>
                </a:solidFill>
                <a:latin typeface="Inter 18pt 18pt" panose="02000503000000020004" pitchFamily="2" charset="0"/>
                <a:ea typeface="Inter 18pt 18pt" panose="02000503000000020004" pitchFamily="2" charset="0"/>
              </a:rPr>
              <a:t>Here are a sample of some of the job roles that are most required in the Energy &amp; Low Carbon (Net Zero) industry.</a:t>
            </a:r>
          </a:p>
          <a:p>
            <a:endParaRPr lang="en-GB">
              <a:solidFill>
                <a:schemeClr val="tx2"/>
              </a:solidFill>
              <a:latin typeface="Inter 18pt 18pt" panose="02000503000000020004" pitchFamily="2" charset="0"/>
              <a:ea typeface="Inter 18pt 18pt" panose="02000503000000020004" pitchFamily="2" charset="0"/>
            </a:endParaRPr>
          </a:p>
          <a:p>
            <a:endParaRPr lang="en-GB">
              <a:solidFill>
                <a:schemeClr val="tx2"/>
              </a:solidFill>
              <a:latin typeface="Inter 18pt 18pt" panose="02000503000000020004" pitchFamily="2" charset="0"/>
              <a:ea typeface="Inter 18pt 18pt" panose="02000503000000020004" pitchFamily="2" charset="0"/>
            </a:endParaRPr>
          </a:p>
        </p:txBody>
      </p:sp>
      <p:sp>
        <p:nvSpPr>
          <p:cNvPr id="16" name="TextBox 15">
            <a:extLst>
              <a:ext uri="{FF2B5EF4-FFF2-40B4-BE49-F238E27FC236}">
                <a16:creationId xmlns:a16="http://schemas.microsoft.com/office/drawing/2014/main" id="{7D14F616-9D4C-45AC-B03F-1319A1B389B9}"/>
              </a:ext>
            </a:extLst>
          </p:cNvPr>
          <p:cNvSpPr txBox="1"/>
          <p:nvPr/>
        </p:nvSpPr>
        <p:spPr>
          <a:xfrm>
            <a:off x="6947240" y="1225062"/>
            <a:ext cx="4851882" cy="1477328"/>
          </a:xfrm>
          <a:prstGeom prst="rect">
            <a:avLst/>
          </a:prstGeom>
          <a:noFill/>
        </p:spPr>
        <p:txBody>
          <a:bodyPr wrap="square" rtlCol="0">
            <a:spAutoFit/>
          </a:bodyPr>
          <a:lstStyle/>
          <a:p>
            <a:r>
              <a:rPr lang="en-GB">
                <a:solidFill>
                  <a:schemeClr val="tx2"/>
                </a:solidFill>
                <a:latin typeface="Inter 18pt 18pt" panose="02000503000000020004" pitchFamily="2" charset="0"/>
                <a:ea typeface="Inter 18pt 18pt" panose="02000503000000020004" pitchFamily="2" charset="0"/>
              </a:rPr>
              <a:t>Below are some of the skills and traits of people who are excellent at their job roles in this industry.</a:t>
            </a:r>
          </a:p>
          <a:p>
            <a:endParaRPr lang="en-GB">
              <a:solidFill>
                <a:schemeClr val="tx2"/>
              </a:solidFill>
              <a:latin typeface="Inter 18pt 18pt" panose="02000503000000020004" pitchFamily="2" charset="0"/>
              <a:ea typeface="Inter 18pt 18pt" panose="02000503000000020004" pitchFamily="2" charset="0"/>
            </a:endParaRPr>
          </a:p>
          <a:p>
            <a:endParaRPr lang="en-GB">
              <a:solidFill>
                <a:schemeClr val="tx2"/>
              </a:solidFill>
              <a:latin typeface="Inter 18pt 18pt" panose="02000503000000020004" pitchFamily="2" charset="0"/>
              <a:ea typeface="Inter 18pt 18pt" panose="02000503000000020004" pitchFamily="2" charset="0"/>
            </a:endParaRPr>
          </a:p>
        </p:txBody>
      </p:sp>
      <p:pic>
        <p:nvPicPr>
          <p:cNvPr id="4" name="Graphic 3">
            <a:extLst>
              <a:ext uri="{FF2B5EF4-FFF2-40B4-BE49-F238E27FC236}">
                <a16:creationId xmlns:a16="http://schemas.microsoft.com/office/drawing/2014/main" id="{DB8BF248-368B-92F6-0D98-79E951827C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72016" y="1883153"/>
            <a:ext cx="5346700" cy="4610100"/>
          </a:xfrm>
          <a:prstGeom prst="rect">
            <a:avLst/>
          </a:prstGeom>
        </p:spPr>
      </p:pic>
      <p:cxnSp>
        <p:nvCxnSpPr>
          <p:cNvPr id="5" name="Straight Connector 4">
            <a:extLst>
              <a:ext uri="{FF2B5EF4-FFF2-40B4-BE49-F238E27FC236}">
                <a16:creationId xmlns:a16="http://schemas.microsoft.com/office/drawing/2014/main" id="{91FFF680-597F-84B1-7674-56515987A897}"/>
              </a:ext>
            </a:extLst>
          </p:cNvPr>
          <p:cNvCxnSpPr>
            <a:cxnSpLocks/>
          </p:cNvCxnSpPr>
          <p:nvPr/>
        </p:nvCxnSpPr>
        <p:spPr>
          <a:xfrm>
            <a:off x="6683207" y="996462"/>
            <a:ext cx="0" cy="5205555"/>
          </a:xfrm>
          <a:prstGeom prst="line">
            <a:avLst/>
          </a:prstGeom>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9ECF81A5-43BD-6EFE-602D-ACBAF004F9C0}"/>
              </a:ext>
            </a:extLst>
          </p:cNvPr>
          <p:cNvSpPr txBox="1"/>
          <p:nvPr/>
        </p:nvSpPr>
        <p:spPr>
          <a:xfrm>
            <a:off x="7929293" y="2247074"/>
            <a:ext cx="2902328" cy="153888"/>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UNDERSTANDING RENEWABLE ENERGY</a:t>
            </a:r>
          </a:p>
        </p:txBody>
      </p:sp>
      <p:sp>
        <p:nvSpPr>
          <p:cNvPr id="9" name="TextBox 8">
            <a:extLst>
              <a:ext uri="{FF2B5EF4-FFF2-40B4-BE49-F238E27FC236}">
                <a16:creationId xmlns:a16="http://schemas.microsoft.com/office/drawing/2014/main" id="{8A968CC2-F1CE-D047-2F93-64FD282CB5FB}"/>
              </a:ext>
            </a:extLst>
          </p:cNvPr>
          <p:cNvSpPr txBox="1"/>
          <p:nvPr/>
        </p:nvSpPr>
        <p:spPr>
          <a:xfrm>
            <a:off x="10632374" y="2845900"/>
            <a:ext cx="1166748" cy="307777"/>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SUSTAINABILITY AWARENESS</a:t>
            </a:r>
          </a:p>
        </p:txBody>
      </p:sp>
      <p:sp>
        <p:nvSpPr>
          <p:cNvPr id="10" name="TextBox 9">
            <a:extLst>
              <a:ext uri="{FF2B5EF4-FFF2-40B4-BE49-F238E27FC236}">
                <a16:creationId xmlns:a16="http://schemas.microsoft.com/office/drawing/2014/main" id="{D7791ACF-816B-D487-3499-CFF2E1612E0A}"/>
              </a:ext>
            </a:extLst>
          </p:cNvPr>
          <p:cNvSpPr txBox="1"/>
          <p:nvPr/>
        </p:nvSpPr>
        <p:spPr>
          <a:xfrm>
            <a:off x="10831621" y="4097605"/>
            <a:ext cx="1012791" cy="307777"/>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PROJECT PLANNING</a:t>
            </a:r>
          </a:p>
        </p:txBody>
      </p:sp>
      <p:sp>
        <p:nvSpPr>
          <p:cNvPr id="11" name="TextBox 10">
            <a:extLst>
              <a:ext uri="{FF2B5EF4-FFF2-40B4-BE49-F238E27FC236}">
                <a16:creationId xmlns:a16="http://schemas.microsoft.com/office/drawing/2014/main" id="{1C1AFB3F-AA9E-C579-CD5E-3E002787FC59}"/>
              </a:ext>
            </a:extLst>
          </p:cNvPr>
          <p:cNvSpPr txBox="1"/>
          <p:nvPr/>
        </p:nvSpPr>
        <p:spPr>
          <a:xfrm>
            <a:off x="10689002" y="5053071"/>
            <a:ext cx="1012791" cy="307777"/>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DATA MANGEMENT</a:t>
            </a:r>
          </a:p>
        </p:txBody>
      </p:sp>
      <p:sp>
        <p:nvSpPr>
          <p:cNvPr id="13" name="TextBox 12">
            <a:extLst>
              <a:ext uri="{FF2B5EF4-FFF2-40B4-BE49-F238E27FC236}">
                <a16:creationId xmlns:a16="http://schemas.microsoft.com/office/drawing/2014/main" id="{F472A59F-31AB-8CDA-6047-8AB91A5538F8}"/>
              </a:ext>
            </a:extLst>
          </p:cNvPr>
          <p:cNvSpPr txBox="1"/>
          <p:nvPr/>
        </p:nvSpPr>
        <p:spPr>
          <a:xfrm>
            <a:off x="8651378" y="5876818"/>
            <a:ext cx="1012791" cy="307777"/>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TECHNICAL SKILLS</a:t>
            </a:r>
          </a:p>
        </p:txBody>
      </p:sp>
      <p:sp>
        <p:nvSpPr>
          <p:cNvPr id="18" name="TextBox 17">
            <a:extLst>
              <a:ext uri="{FF2B5EF4-FFF2-40B4-BE49-F238E27FC236}">
                <a16:creationId xmlns:a16="http://schemas.microsoft.com/office/drawing/2014/main" id="{90572F9F-F7AB-DD2B-30F4-CB926A87CF09}"/>
              </a:ext>
            </a:extLst>
          </p:cNvPr>
          <p:cNvSpPr txBox="1"/>
          <p:nvPr/>
        </p:nvSpPr>
        <p:spPr>
          <a:xfrm>
            <a:off x="7077324" y="5622557"/>
            <a:ext cx="1263403" cy="153888"/>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COMMUNICATION</a:t>
            </a:r>
          </a:p>
        </p:txBody>
      </p:sp>
      <p:sp>
        <p:nvSpPr>
          <p:cNvPr id="19" name="TextBox 18">
            <a:extLst>
              <a:ext uri="{FF2B5EF4-FFF2-40B4-BE49-F238E27FC236}">
                <a16:creationId xmlns:a16="http://schemas.microsoft.com/office/drawing/2014/main" id="{2CC34483-6A79-1421-EE11-07EDD276A754}"/>
              </a:ext>
            </a:extLst>
          </p:cNvPr>
          <p:cNvSpPr txBox="1"/>
          <p:nvPr/>
        </p:nvSpPr>
        <p:spPr>
          <a:xfrm>
            <a:off x="6947240" y="4517117"/>
            <a:ext cx="1393487" cy="153888"/>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PROBLEM SOLVING</a:t>
            </a:r>
          </a:p>
        </p:txBody>
      </p:sp>
      <p:sp>
        <p:nvSpPr>
          <p:cNvPr id="20" name="TextBox 19">
            <a:extLst>
              <a:ext uri="{FF2B5EF4-FFF2-40B4-BE49-F238E27FC236}">
                <a16:creationId xmlns:a16="http://schemas.microsoft.com/office/drawing/2014/main" id="{017E48F2-07C5-03F1-F88A-AB2824AC2451}"/>
              </a:ext>
            </a:extLst>
          </p:cNvPr>
          <p:cNvSpPr txBox="1"/>
          <p:nvPr/>
        </p:nvSpPr>
        <p:spPr>
          <a:xfrm>
            <a:off x="6908190" y="2880553"/>
            <a:ext cx="1263403" cy="153888"/>
          </a:xfrm>
          <a:prstGeom prst="rect">
            <a:avLst/>
          </a:prstGeom>
          <a:noFill/>
        </p:spPr>
        <p:txBody>
          <a:bodyPr wrap="square" lIns="0" tIns="0" rIns="0" bIns="0" rtlCol="0">
            <a:spAutoFit/>
          </a:bodyPr>
          <a:lstStyle/>
          <a:p>
            <a:r>
              <a:rPr lang="en-US" sz="1000">
                <a:solidFill>
                  <a:schemeClr val="accent5"/>
                </a:solidFill>
                <a:latin typeface="Inter" panose="020B0502030000000004" pitchFamily="34" charset="0"/>
                <a:ea typeface="Inter" panose="020B0502030000000004" pitchFamily="34" charset="0"/>
              </a:rPr>
              <a:t>TEAMWORK</a:t>
            </a:r>
          </a:p>
        </p:txBody>
      </p:sp>
      <p:pic>
        <p:nvPicPr>
          <p:cNvPr id="22" name="Graphic 21">
            <a:extLst>
              <a:ext uri="{FF2B5EF4-FFF2-40B4-BE49-F238E27FC236}">
                <a16:creationId xmlns:a16="http://schemas.microsoft.com/office/drawing/2014/main" id="{B67D8883-747B-0E9D-252A-D653C39C179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5244" y="2425125"/>
            <a:ext cx="927100" cy="850900"/>
          </a:xfrm>
          <a:prstGeom prst="rect">
            <a:avLst/>
          </a:prstGeom>
        </p:spPr>
      </p:pic>
      <p:pic>
        <p:nvPicPr>
          <p:cNvPr id="24" name="Graphic 23">
            <a:extLst>
              <a:ext uri="{FF2B5EF4-FFF2-40B4-BE49-F238E27FC236}">
                <a16:creationId xmlns:a16="http://schemas.microsoft.com/office/drawing/2014/main" id="{63C999E8-0365-07A5-52FF-A613583BFC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79596" y="4265543"/>
            <a:ext cx="1085022" cy="941416"/>
          </a:xfrm>
          <a:prstGeom prst="rect">
            <a:avLst/>
          </a:prstGeom>
        </p:spPr>
      </p:pic>
      <p:pic>
        <p:nvPicPr>
          <p:cNvPr id="26" name="Graphic 25">
            <a:extLst>
              <a:ext uri="{FF2B5EF4-FFF2-40B4-BE49-F238E27FC236}">
                <a16:creationId xmlns:a16="http://schemas.microsoft.com/office/drawing/2014/main" id="{D66AFA7C-D718-D931-9D49-4F97136722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54950" y="4272645"/>
            <a:ext cx="952958" cy="912692"/>
          </a:xfrm>
          <a:prstGeom prst="rect">
            <a:avLst/>
          </a:prstGeom>
        </p:spPr>
      </p:pic>
      <p:pic>
        <p:nvPicPr>
          <p:cNvPr id="28" name="Graphic 27">
            <a:extLst>
              <a:ext uri="{FF2B5EF4-FFF2-40B4-BE49-F238E27FC236}">
                <a16:creationId xmlns:a16="http://schemas.microsoft.com/office/drawing/2014/main" id="{373F65F7-8349-215F-6F41-E685AFC6A02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70933" y="4479221"/>
            <a:ext cx="546337" cy="741457"/>
          </a:xfrm>
          <a:prstGeom prst="rect">
            <a:avLst/>
          </a:prstGeom>
        </p:spPr>
      </p:pic>
      <p:pic>
        <p:nvPicPr>
          <p:cNvPr id="30" name="Graphic 29">
            <a:extLst>
              <a:ext uri="{FF2B5EF4-FFF2-40B4-BE49-F238E27FC236}">
                <a16:creationId xmlns:a16="http://schemas.microsoft.com/office/drawing/2014/main" id="{AAE7BADD-0984-D8DD-6B5F-BF3C1B2AD55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3463" y="4535662"/>
            <a:ext cx="998281" cy="649675"/>
          </a:xfrm>
          <a:prstGeom prst="rect">
            <a:avLst/>
          </a:prstGeom>
        </p:spPr>
      </p:pic>
      <p:pic>
        <p:nvPicPr>
          <p:cNvPr id="32" name="Graphic 31">
            <a:extLst>
              <a:ext uri="{FF2B5EF4-FFF2-40B4-BE49-F238E27FC236}">
                <a16:creationId xmlns:a16="http://schemas.microsoft.com/office/drawing/2014/main" id="{AEEA36BD-ACEE-6E44-40C9-B8C9963AC64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149776" y="2635577"/>
            <a:ext cx="840902" cy="560601"/>
          </a:xfrm>
          <a:prstGeom prst="rect">
            <a:avLst/>
          </a:prstGeom>
        </p:spPr>
      </p:pic>
      <p:pic>
        <p:nvPicPr>
          <p:cNvPr id="34" name="Graphic 33">
            <a:extLst>
              <a:ext uri="{FF2B5EF4-FFF2-40B4-BE49-F238E27FC236}">
                <a16:creationId xmlns:a16="http://schemas.microsoft.com/office/drawing/2014/main" id="{1742B9B5-12EA-6CAA-C277-6E97576FD2C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600749" y="2635577"/>
            <a:ext cx="736600" cy="723900"/>
          </a:xfrm>
          <a:prstGeom prst="rect">
            <a:avLst/>
          </a:prstGeom>
        </p:spPr>
      </p:pic>
      <p:pic>
        <p:nvPicPr>
          <p:cNvPr id="36" name="Graphic 35">
            <a:extLst>
              <a:ext uri="{FF2B5EF4-FFF2-40B4-BE49-F238E27FC236}">
                <a16:creationId xmlns:a16="http://schemas.microsoft.com/office/drawing/2014/main" id="{690047D2-4BDE-1356-2B36-7F78D348533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999884" y="2542471"/>
            <a:ext cx="774700" cy="762000"/>
          </a:xfrm>
          <a:prstGeom prst="rect">
            <a:avLst/>
          </a:prstGeom>
        </p:spPr>
      </p:pic>
      <p:sp>
        <p:nvSpPr>
          <p:cNvPr id="37" name="TextBox 36">
            <a:extLst>
              <a:ext uri="{FF2B5EF4-FFF2-40B4-BE49-F238E27FC236}">
                <a16:creationId xmlns:a16="http://schemas.microsoft.com/office/drawing/2014/main" id="{72C73201-DA2F-7305-6879-0918E413453F}"/>
              </a:ext>
            </a:extLst>
          </p:cNvPr>
          <p:cNvSpPr txBox="1"/>
          <p:nvPr/>
        </p:nvSpPr>
        <p:spPr>
          <a:xfrm>
            <a:off x="448527" y="3468734"/>
            <a:ext cx="1227059"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Renewable Energy</a:t>
            </a:r>
          </a:p>
        </p:txBody>
      </p:sp>
      <p:sp>
        <p:nvSpPr>
          <p:cNvPr id="38" name="TextBox 37">
            <a:extLst>
              <a:ext uri="{FF2B5EF4-FFF2-40B4-BE49-F238E27FC236}">
                <a16:creationId xmlns:a16="http://schemas.microsoft.com/office/drawing/2014/main" id="{1E4F7367-3EE7-2E55-893E-719F7800C412}"/>
              </a:ext>
            </a:extLst>
          </p:cNvPr>
          <p:cNvSpPr txBox="1"/>
          <p:nvPr/>
        </p:nvSpPr>
        <p:spPr>
          <a:xfrm>
            <a:off x="1999884" y="3468734"/>
            <a:ext cx="1180642"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Hydrogen Production</a:t>
            </a:r>
          </a:p>
        </p:txBody>
      </p:sp>
      <p:sp>
        <p:nvSpPr>
          <p:cNvPr id="39" name="TextBox 38">
            <a:extLst>
              <a:ext uri="{FF2B5EF4-FFF2-40B4-BE49-F238E27FC236}">
                <a16:creationId xmlns:a16="http://schemas.microsoft.com/office/drawing/2014/main" id="{7ACCA992-15B0-D1B6-BC7A-A73E0D830C89}"/>
              </a:ext>
            </a:extLst>
          </p:cNvPr>
          <p:cNvSpPr txBox="1"/>
          <p:nvPr/>
        </p:nvSpPr>
        <p:spPr>
          <a:xfrm>
            <a:off x="3422024" y="3468734"/>
            <a:ext cx="1452295"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Carbon Capture &amp; Storage</a:t>
            </a:r>
          </a:p>
        </p:txBody>
      </p:sp>
      <p:sp>
        <p:nvSpPr>
          <p:cNvPr id="40" name="TextBox 39">
            <a:extLst>
              <a:ext uri="{FF2B5EF4-FFF2-40B4-BE49-F238E27FC236}">
                <a16:creationId xmlns:a16="http://schemas.microsoft.com/office/drawing/2014/main" id="{2B8AADC2-0E27-AF73-435C-068BD26E91E0}"/>
              </a:ext>
            </a:extLst>
          </p:cNvPr>
          <p:cNvSpPr txBox="1"/>
          <p:nvPr/>
        </p:nvSpPr>
        <p:spPr>
          <a:xfrm>
            <a:off x="5096386" y="3468734"/>
            <a:ext cx="1180641"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Energy Efficiency</a:t>
            </a:r>
          </a:p>
        </p:txBody>
      </p:sp>
      <p:sp>
        <p:nvSpPr>
          <p:cNvPr id="41" name="TextBox 40">
            <a:extLst>
              <a:ext uri="{FF2B5EF4-FFF2-40B4-BE49-F238E27FC236}">
                <a16:creationId xmlns:a16="http://schemas.microsoft.com/office/drawing/2014/main" id="{639725A4-0668-510F-A700-2171A4AA66DB}"/>
              </a:ext>
            </a:extLst>
          </p:cNvPr>
          <p:cNvSpPr txBox="1"/>
          <p:nvPr/>
        </p:nvSpPr>
        <p:spPr>
          <a:xfrm>
            <a:off x="448527" y="5354760"/>
            <a:ext cx="1540130"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Research &amp; Development</a:t>
            </a:r>
          </a:p>
        </p:txBody>
      </p:sp>
      <p:sp>
        <p:nvSpPr>
          <p:cNvPr id="42" name="TextBox 41">
            <a:extLst>
              <a:ext uri="{FF2B5EF4-FFF2-40B4-BE49-F238E27FC236}">
                <a16:creationId xmlns:a16="http://schemas.microsoft.com/office/drawing/2014/main" id="{0D027813-5073-579C-1790-A6BCC6A9298D}"/>
              </a:ext>
            </a:extLst>
          </p:cNvPr>
          <p:cNvSpPr txBox="1"/>
          <p:nvPr/>
        </p:nvSpPr>
        <p:spPr>
          <a:xfrm>
            <a:off x="1999884" y="5354760"/>
            <a:ext cx="1155329"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Project Management</a:t>
            </a:r>
          </a:p>
        </p:txBody>
      </p:sp>
      <p:sp>
        <p:nvSpPr>
          <p:cNvPr id="43" name="TextBox 42">
            <a:extLst>
              <a:ext uri="{FF2B5EF4-FFF2-40B4-BE49-F238E27FC236}">
                <a16:creationId xmlns:a16="http://schemas.microsoft.com/office/drawing/2014/main" id="{5A91C429-D62B-11CF-A047-8788B34C7316}"/>
              </a:ext>
            </a:extLst>
          </p:cNvPr>
          <p:cNvSpPr txBox="1"/>
          <p:nvPr/>
        </p:nvSpPr>
        <p:spPr>
          <a:xfrm>
            <a:off x="3483480" y="5354760"/>
            <a:ext cx="1452296"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Environmental Consultancy</a:t>
            </a:r>
          </a:p>
        </p:txBody>
      </p:sp>
      <p:sp>
        <p:nvSpPr>
          <p:cNvPr id="44" name="TextBox 43">
            <a:extLst>
              <a:ext uri="{FF2B5EF4-FFF2-40B4-BE49-F238E27FC236}">
                <a16:creationId xmlns:a16="http://schemas.microsoft.com/office/drawing/2014/main" id="{B30A2E3A-E2D3-6992-3532-90332438FFC9}"/>
              </a:ext>
            </a:extLst>
          </p:cNvPr>
          <p:cNvSpPr txBox="1"/>
          <p:nvPr/>
        </p:nvSpPr>
        <p:spPr>
          <a:xfrm>
            <a:off x="5035617" y="5354760"/>
            <a:ext cx="1410703" cy="430887"/>
          </a:xfrm>
          <a:prstGeom prst="rect">
            <a:avLst/>
          </a:prstGeom>
          <a:noFill/>
        </p:spPr>
        <p:txBody>
          <a:bodyPr wrap="square" lIns="0" tIns="0" rIns="0" bIns="0" rtlCol="0">
            <a:spAutoFit/>
          </a:bodyPr>
          <a:lstStyle/>
          <a:p>
            <a:r>
              <a:rPr lang="en-US" sz="1400">
                <a:solidFill>
                  <a:schemeClr val="accent5"/>
                </a:solidFill>
                <a:latin typeface="Inter" panose="020B0502030000000004" pitchFamily="34" charset="0"/>
                <a:ea typeface="Inter" panose="020B0502030000000004" pitchFamily="34" charset="0"/>
              </a:rPr>
              <a:t>Grid Integration &amp; Management</a:t>
            </a:r>
          </a:p>
        </p:txBody>
      </p:sp>
      <p:pic>
        <p:nvPicPr>
          <p:cNvPr id="3" name="Graphic 2">
            <a:extLst>
              <a:ext uri="{FF2B5EF4-FFF2-40B4-BE49-F238E27FC236}">
                <a16:creationId xmlns:a16="http://schemas.microsoft.com/office/drawing/2014/main" id="{93D15D43-FC93-4533-8981-1B50F183800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1569338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6F5155-7184-D149-7E90-0A996B92CF16}"/>
              </a:ext>
            </a:extLst>
          </p:cNvPr>
          <p:cNvSpPr>
            <a:spLocks noGrp="1"/>
          </p:cNvSpPr>
          <p:nvPr>
            <p:ph type="title"/>
          </p:nvPr>
        </p:nvSpPr>
        <p:spPr>
          <a:xfrm>
            <a:off x="334107" y="423741"/>
            <a:ext cx="7905431" cy="572721"/>
          </a:xfrm>
        </p:spPr>
        <p:txBody>
          <a:bodyPr/>
          <a:lstStyle/>
          <a:p>
            <a:r>
              <a:rPr lang="en-GB" sz="3200"/>
              <a:t>The Teesside Area &amp; Engineering</a:t>
            </a:r>
          </a:p>
        </p:txBody>
      </p:sp>
      <p:sp>
        <p:nvSpPr>
          <p:cNvPr id="5" name="TextBox 4">
            <a:extLst>
              <a:ext uri="{FF2B5EF4-FFF2-40B4-BE49-F238E27FC236}">
                <a16:creationId xmlns:a16="http://schemas.microsoft.com/office/drawing/2014/main" id="{58A4F708-2F04-4DF7-8085-BEC55FACB8B3}"/>
              </a:ext>
            </a:extLst>
          </p:cNvPr>
          <p:cNvSpPr txBox="1"/>
          <p:nvPr/>
        </p:nvSpPr>
        <p:spPr>
          <a:xfrm>
            <a:off x="334108" y="1233197"/>
            <a:ext cx="6742553" cy="4093428"/>
          </a:xfrm>
          <a:prstGeom prst="rect">
            <a:avLst/>
          </a:prstGeom>
          <a:noFill/>
        </p:spPr>
        <p:txBody>
          <a:bodyPr wrap="square" rtlCol="0">
            <a:spAutoFit/>
          </a:bodyPr>
          <a:lstStyle/>
          <a:p>
            <a:r>
              <a:rPr lang="en-GB" sz="2000">
                <a:solidFill>
                  <a:schemeClr val="tx2"/>
                </a:solidFill>
                <a:latin typeface="Inter" panose="02000503000000020004" pitchFamily="2" charset="0"/>
                <a:ea typeface="Inter" panose="02000503000000020004" pitchFamily="2" charset="0"/>
              </a:rPr>
              <a:t>Today there is a massive push on sustainability and the industry in Teesside has a huge part to play in making a difference.</a:t>
            </a:r>
          </a:p>
          <a:p>
            <a:endParaRPr lang="en-GB" sz="2000">
              <a:solidFill>
                <a:schemeClr val="tx2"/>
              </a:solidFill>
              <a:latin typeface="Inter" panose="02000503000000020004" pitchFamily="2" charset="0"/>
              <a:ea typeface="Inter" panose="02000503000000020004" pitchFamily="2" charset="0"/>
            </a:endParaRPr>
          </a:p>
          <a:p>
            <a:r>
              <a:rPr lang="en-GB" sz="2000">
                <a:solidFill>
                  <a:schemeClr val="tx2"/>
                </a:solidFill>
                <a:latin typeface="Inter" panose="02000503000000020004" pitchFamily="2" charset="0"/>
                <a:ea typeface="Inter" panose="02000503000000020004" pitchFamily="2" charset="0"/>
              </a:rPr>
              <a:t>You might have heard a lot about the </a:t>
            </a:r>
            <a:r>
              <a:rPr lang="en-GB" sz="2000" err="1">
                <a:solidFill>
                  <a:schemeClr val="tx2"/>
                </a:solidFill>
                <a:latin typeface="Inter" panose="02000503000000020004" pitchFamily="2" charset="0"/>
                <a:ea typeface="Inter" panose="02000503000000020004" pitchFamily="2" charset="0"/>
              </a:rPr>
              <a:t>Teesworks</a:t>
            </a:r>
            <a:r>
              <a:rPr lang="en-GB" sz="2000">
                <a:solidFill>
                  <a:schemeClr val="tx2"/>
                </a:solidFill>
                <a:latin typeface="Inter" panose="02000503000000020004" pitchFamily="2" charset="0"/>
                <a:ea typeface="Inter" panose="02000503000000020004" pitchFamily="2" charset="0"/>
              </a:rPr>
              <a:t> Freeport which has ambitions to become the first UK Net Zero Carbon industrial cluster.</a:t>
            </a:r>
          </a:p>
          <a:p>
            <a:endParaRPr lang="en-GB" sz="2000">
              <a:solidFill>
                <a:schemeClr val="tx2"/>
              </a:solidFill>
              <a:latin typeface="Inter" panose="02000503000000020004" pitchFamily="2" charset="0"/>
              <a:ea typeface="Inter" panose="02000503000000020004" pitchFamily="2" charset="0"/>
            </a:endParaRPr>
          </a:p>
          <a:p>
            <a:r>
              <a:rPr lang="en-GB" sz="2000">
                <a:solidFill>
                  <a:schemeClr val="tx2"/>
                </a:solidFill>
                <a:latin typeface="Inter" panose="02000503000000020004" pitchFamily="2" charset="0"/>
                <a:ea typeface="Inter" panose="02000503000000020004" pitchFamily="2" charset="0"/>
              </a:rPr>
              <a:t>Whilst enjoying a lemon top you might have noticed wind farms out in the sea.</a:t>
            </a:r>
          </a:p>
          <a:p>
            <a:endParaRPr lang="en-GB" sz="2000">
              <a:solidFill>
                <a:schemeClr val="tx2"/>
              </a:solidFill>
              <a:latin typeface="Inter" panose="02000503000000020004" pitchFamily="2" charset="0"/>
              <a:ea typeface="Inter" panose="02000503000000020004" pitchFamily="2" charset="0"/>
            </a:endParaRPr>
          </a:p>
          <a:p>
            <a:r>
              <a:rPr lang="en-GB" sz="2000">
                <a:solidFill>
                  <a:schemeClr val="tx2"/>
                </a:solidFill>
                <a:latin typeface="Inter" panose="02000503000000020004" pitchFamily="2" charset="0"/>
                <a:ea typeface="Inter" panose="02000503000000020004" pitchFamily="2" charset="0"/>
              </a:rPr>
              <a:t>When travelling along the A19 you might happen to see a solar farm to the side of the road</a:t>
            </a:r>
          </a:p>
        </p:txBody>
      </p:sp>
      <p:pic>
        <p:nvPicPr>
          <p:cNvPr id="3076" name="Picture 4" descr="Teesworks - Business">
            <a:extLst>
              <a:ext uri="{FF2B5EF4-FFF2-40B4-BE49-F238E27FC236}">
                <a16:creationId xmlns:a16="http://schemas.microsoft.com/office/drawing/2014/main" id="{2FDB0C33-AD3E-4204-A3F2-D4941645CF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92"/>
          <a:stretch/>
        </p:blipFill>
        <p:spPr bwMode="auto">
          <a:xfrm>
            <a:off x="7520541" y="10582"/>
            <a:ext cx="4671458" cy="326932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Redcar wind turbine parts factory gets £225m investment - BBC News">
            <a:extLst>
              <a:ext uri="{FF2B5EF4-FFF2-40B4-BE49-F238E27FC236}">
                <a16:creationId xmlns:a16="http://schemas.microsoft.com/office/drawing/2014/main" id="{912F02CC-4A26-4EBF-B021-318B74CB66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16624" y="3450574"/>
            <a:ext cx="4675375" cy="2629899"/>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Teesside Wind Farm - Wikipedia">
            <a:extLst>
              <a:ext uri="{FF2B5EF4-FFF2-40B4-BE49-F238E27FC236}">
                <a16:creationId xmlns:a16="http://schemas.microsoft.com/office/drawing/2014/main" id="{3DF2AE4F-E055-46B4-AA22-48D88161D99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8052" r="498" b="4547"/>
          <a:stretch/>
        </p:blipFill>
        <p:spPr bwMode="auto">
          <a:xfrm>
            <a:off x="7516624" y="-1"/>
            <a:ext cx="4667542" cy="3279913"/>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Stockton solar farm opponents claim plans are excessive - BBC News">
            <a:extLst>
              <a:ext uri="{FF2B5EF4-FFF2-40B4-BE49-F238E27FC236}">
                <a16:creationId xmlns:a16="http://schemas.microsoft.com/office/drawing/2014/main" id="{0531D44B-AF63-4E38-BA14-1C9270D3ABF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615" t="1566" b="2969"/>
          <a:stretch/>
        </p:blipFill>
        <p:spPr bwMode="auto">
          <a:xfrm>
            <a:off x="7512707" y="3450574"/>
            <a:ext cx="4671459" cy="2629899"/>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a:extLst>
              <a:ext uri="{FF2B5EF4-FFF2-40B4-BE49-F238E27FC236}">
                <a16:creationId xmlns:a16="http://schemas.microsoft.com/office/drawing/2014/main" id="{A709C5E0-801C-6F1D-A5A2-CF106E1168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2526233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3076"/>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3078"/>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308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What Is Sustainability? And Why Does It Matter?">
            <a:extLst>
              <a:ext uri="{FF2B5EF4-FFF2-40B4-BE49-F238E27FC236}">
                <a16:creationId xmlns:a16="http://schemas.microsoft.com/office/drawing/2014/main" id="{F74F9D59-7874-4BA0-BD37-040C11D41F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07" t="155" r="41419" b="19628"/>
          <a:stretch/>
        </p:blipFill>
        <p:spPr bwMode="auto">
          <a:xfrm>
            <a:off x="7543800" y="13194"/>
            <a:ext cx="4648200" cy="575713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3A4CEF54-F6C4-43CD-B3AB-C91C8737682C}"/>
              </a:ext>
            </a:extLst>
          </p:cNvPr>
          <p:cNvSpPr/>
          <p:nvPr/>
        </p:nvSpPr>
        <p:spPr>
          <a:xfrm>
            <a:off x="0" y="423740"/>
            <a:ext cx="12192000" cy="57571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4E07DA0B-BD30-4A82-939E-DF2F81DA4653}"/>
              </a:ext>
            </a:extLst>
          </p:cNvPr>
          <p:cNvSpPr txBox="1"/>
          <p:nvPr/>
        </p:nvSpPr>
        <p:spPr>
          <a:xfrm>
            <a:off x="334108" y="996462"/>
            <a:ext cx="8980013" cy="1107996"/>
          </a:xfrm>
          <a:prstGeom prst="rect">
            <a:avLst/>
          </a:prstGeom>
          <a:noFill/>
        </p:spPr>
        <p:txBody>
          <a:bodyPr wrap="square" rtlCol="0">
            <a:spAutoFit/>
          </a:bodyPr>
          <a:lstStyle/>
          <a:p>
            <a:r>
              <a:rPr lang="en-GB" sz="2200">
                <a:solidFill>
                  <a:schemeClr val="tx2"/>
                </a:solidFill>
                <a:latin typeface="Inter 18pt 18pt" panose="02000503000000020004" pitchFamily="2" charset="0"/>
                <a:ea typeface="Inter 18pt 18pt" panose="02000503000000020004" pitchFamily="2" charset="0"/>
              </a:rPr>
              <a:t>The dictionary definition:</a:t>
            </a:r>
          </a:p>
          <a:p>
            <a:endParaRPr lang="en-GB" sz="2200">
              <a:solidFill>
                <a:schemeClr val="tx2"/>
              </a:solidFill>
              <a:latin typeface="Inter 18pt 18pt" panose="02000503000000020004" pitchFamily="2" charset="0"/>
              <a:ea typeface="Inter 18pt 18pt" panose="02000503000000020004" pitchFamily="2" charset="0"/>
            </a:endParaRPr>
          </a:p>
          <a:p>
            <a:r>
              <a:rPr lang="en-GB" sz="2200">
                <a:solidFill>
                  <a:schemeClr val="tx2"/>
                </a:solidFill>
                <a:latin typeface="Inter 18pt 18pt" panose="02000503000000020004" pitchFamily="2" charset="0"/>
                <a:ea typeface="Inter 18pt 18pt" panose="02000503000000020004" pitchFamily="2" charset="0"/>
              </a:rPr>
              <a:t>noun</a:t>
            </a:r>
          </a:p>
        </p:txBody>
      </p:sp>
      <p:sp>
        <p:nvSpPr>
          <p:cNvPr id="3" name="Title 2">
            <a:extLst>
              <a:ext uri="{FF2B5EF4-FFF2-40B4-BE49-F238E27FC236}">
                <a16:creationId xmlns:a16="http://schemas.microsoft.com/office/drawing/2014/main" id="{3F364A8F-5001-4FDB-B124-0E943CDBDC1A}"/>
              </a:ext>
            </a:extLst>
          </p:cNvPr>
          <p:cNvSpPr>
            <a:spLocks noGrp="1"/>
          </p:cNvSpPr>
          <p:nvPr>
            <p:ph type="title"/>
          </p:nvPr>
        </p:nvSpPr>
        <p:spPr/>
        <p:txBody>
          <a:bodyPr/>
          <a:lstStyle/>
          <a:p>
            <a:r>
              <a:rPr lang="en-GB"/>
              <a:t>Sustainability</a:t>
            </a:r>
          </a:p>
        </p:txBody>
      </p:sp>
      <p:sp>
        <p:nvSpPr>
          <p:cNvPr id="15" name="TextBox 14">
            <a:extLst>
              <a:ext uri="{FF2B5EF4-FFF2-40B4-BE49-F238E27FC236}">
                <a16:creationId xmlns:a16="http://schemas.microsoft.com/office/drawing/2014/main" id="{1BA9A1C9-5883-44F9-ABCA-7414329CAFB1}"/>
              </a:ext>
            </a:extLst>
          </p:cNvPr>
          <p:cNvSpPr txBox="1"/>
          <p:nvPr/>
        </p:nvSpPr>
        <p:spPr>
          <a:xfrm>
            <a:off x="334109" y="5185558"/>
            <a:ext cx="6941334" cy="584775"/>
          </a:xfrm>
          <a:prstGeom prst="rect">
            <a:avLst/>
          </a:prstGeom>
          <a:noFill/>
        </p:spPr>
        <p:txBody>
          <a:bodyPr wrap="square" rtlCol="0">
            <a:spAutoFit/>
          </a:bodyPr>
          <a:lstStyle/>
          <a:p>
            <a:r>
              <a:rPr lang="en-GB" sz="1600">
                <a:solidFill>
                  <a:schemeClr val="tx2"/>
                </a:solidFill>
                <a:latin typeface="Inter 18pt 18pt Medium" panose="02000503000000020004" pitchFamily="2" charset="0"/>
                <a:ea typeface="Inter 18pt 18pt Medium" panose="02000503000000020004" pitchFamily="2" charset="0"/>
              </a:rPr>
              <a:t>So this is the one we’re talking about. A key way to avoid the depletion of natural resources is to harness renewable energy sources.</a:t>
            </a:r>
          </a:p>
        </p:txBody>
      </p:sp>
      <p:sp>
        <p:nvSpPr>
          <p:cNvPr id="4" name="TextBox 3">
            <a:extLst>
              <a:ext uri="{FF2B5EF4-FFF2-40B4-BE49-F238E27FC236}">
                <a16:creationId xmlns:a16="http://schemas.microsoft.com/office/drawing/2014/main" id="{78B80F8D-FFDB-285F-C880-37BA502BDA23}"/>
              </a:ext>
            </a:extLst>
          </p:cNvPr>
          <p:cNvSpPr txBox="1"/>
          <p:nvPr/>
        </p:nvSpPr>
        <p:spPr>
          <a:xfrm>
            <a:off x="731673" y="2186609"/>
            <a:ext cx="6672980" cy="2669962"/>
          </a:xfrm>
          <a:prstGeom prst="rect">
            <a:avLst/>
          </a:prstGeom>
          <a:noFill/>
        </p:spPr>
        <p:txBody>
          <a:bodyPr wrap="square" lIns="0" rIns="0" rtlCol="0">
            <a:spAutoFit/>
          </a:bodyPr>
          <a:lstStyle/>
          <a:p>
            <a:pPr>
              <a:lnSpc>
                <a:spcPts val="2100"/>
              </a:lnSpc>
            </a:pPr>
            <a:r>
              <a:rPr lang="en-GB" sz="2000">
                <a:solidFill>
                  <a:schemeClr val="tx2"/>
                </a:solidFill>
                <a:latin typeface="Inter 18pt 18pt" panose="02000503000000020004" pitchFamily="2" charset="0"/>
                <a:ea typeface="Inter 18pt 18pt" panose="02000503000000020004" pitchFamily="2" charset="0"/>
              </a:rPr>
              <a:t>the ability to be maintained at a certain rate or level.</a:t>
            </a:r>
          </a:p>
          <a:p>
            <a:pPr>
              <a:lnSpc>
                <a:spcPts val="2100"/>
              </a:lnSpc>
            </a:pPr>
            <a:br>
              <a:rPr lang="en-GB" sz="2000">
                <a:solidFill>
                  <a:schemeClr val="tx2"/>
                </a:solidFill>
                <a:latin typeface="Inter 18pt 18pt" panose="02000503000000020004" pitchFamily="2" charset="0"/>
                <a:ea typeface="Inter 18pt 18pt" panose="02000503000000020004" pitchFamily="2" charset="0"/>
              </a:rPr>
            </a:br>
            <a:r>
              <a:rPr lang="en-GB" sz="2000" b="1">
                <a:solidFill>
                  <a:schemeClr val="tx2"/>
                </a:solidFill>
                <a:latin typeface="Inter 18pt 18pt SemiBold" panose="02000503000000020004" pitchFamily="2" charset="0"/>
                <a:ea typeface="Inter 18pt 18pt SemiBold" panose="02000503000000020004" pitchFamily="2" charset="0"/>
              </a:rPr>
              <a:t>"the sustainability of economic growth"</a:t>
            </a:r>
          </a:p>
          <a:p>
            <a:pPr>
              <a:lnSpc>
                <a:spcPts val="2100"/>
              </a:lnSpc>
            </a:pPr>
            <a:r>
              <a:rPr lang="en-GB" sz="2000">
                <a:solidFill>
                  <a:schemeClr val="tx2"/>
                </a:solidFill>
                <a:latin typeface="Inter 18pt 18pt" panose="02000503000000020004" pitchFamily="2" charset="0"/>
                <a:ea typeface="Inter 18pt 18pt" panose="02000503000000020004" pitchFamily="2" charset="0"/>
              </a:rPr>
              <a:t>	</a:t>
            </a:r>
          </a:p>
          <a:p>
            <a:pPr lvl="1">
              <a:lnSpc>
                <a:spcPts val="2500"/>
              </a:lnSpc>
            </a:pPr>
            <a:r>
              <a:rPr lang="en-GB" sz="2000">
                <a:solidFill>
                  <a:schemeClr val="tx2"/>
                </a:solidFill>
                <a:latin typeface="Inter 18pt 18pt Light" panose="02000503000000020004" pitchFamily="2" charset="0"/>
                <a:ea typeface="Inter 18pt 18pt Light" panose="02000503000000020004" pitchFamily="2" charset="0"/>
              </a:rPr>
              <a:t>avoidance of the depletion of natural resources </a:t>
            </a:r>
            <a:br>
              <a:rPr lang="en-GB" sz="2000">
                <a:solidFill>
                  <a:schemeClr val="tx2"/>
                </a:solidFill>
                <a:latin typeface="Inter 18pt 18pt Light" panose="02000503000000020004" pitchFamily="2" charset="0"/>
                <a:ea typeface="Inter 18pt 18pt Light" panose="02000503000000020004" pitchFamily="2" charset="0"/>
              </a:rPr>
            </a:br>
            <a:r>
              <a:rPr lang="en-GB" sz="2000">
                <a:solidFill>
                  <a:schemeClr val="tx2"/>
                </a:solidFill>
                <a:latin typeface="Inter 18pt 18pt Light" panose="02000503000000020004" pitchFamily="2" charset="0"/>
                <a:ea typeface="Inter 18pt 18pt Light" panose="02000503000000020004" pitchFamily="2" charset="0"/>
              </a:rPr>
              <a:t>in order to maintain an ecological balance.</a:t>
            </a:r>
            <a:br>
              <a:rPr lang="en-GB" sz="2000">
                <a:solidFill>
                  <a:schemeClr val="tx2"/>
                </a:solidFill>
                <a:latin typeface="Inter 18pt 18pt" panose="02000503000000020004" pitchFamily="2" charset="0"/>
                <a:ea typeface="Inter 18pt 18pt" panose="02000503000000020004" pitchFamily="2" charset="0"/>
              </a:rPr>
            </a:br>
            <a:endParaRPr lang="en-GB" sz="2000">
              <a:solidFill>
                <a:schemeClr val="tx2"/>
              </a:solidFill>
              <a:latin typeface="Inter 18pt 18pt" panose="02000503000000020004" pitchFamily="2" charset="0"/>
              <a:ea typeface="Inter 18pt 18pt" panose="02000503000000020004" pitchFamily="2" charset="0"/>
            </a:endParaRPr>
          </a:p>
          <a:p>
            <a:pPr>
              <a:lnSpc>
                <a:spcPts val="2100"/>
              </a:lnSpc>
            </a:pPr>
            <a:r>
              <a:rPr lang="en-GB" sz="2000" b="1">
                <a:solidFill>
                  <a:schemeClr val="tx2"/>
                </a:solidFill>
                <a:latin typeface="Inter 18pt 18pt SemiBold" panose="02000503000000020004" pitchFamily="2" charset="0"/>
                <a:ea typeface="Inter 18pt 18pt SemiBold" panose="02000503000000020004" pitchFamily="2" charset="0"/>
              </a:rPr>
              <a:t>"the pursuit of global environmental sustainability"</a:t>
            </a:r>
          </a:p>
          <a:p>
            <a:pPr>
              <a:lnSpc>
                <a:spcPts val="2100"/>
              </a:lnSpc>
            </a:pPr>
            <a:endParaRPr lang="en-US">
              <a:solidFill>
                <a:schemeClr val="tx2"/>
              </a:solidFill>
            </a:endParaRPr>
          </a:p>
        </p:txBody>
      </p:sp>
      <p:cxnSp>
        <p:nvCxnSpPr>
          <p:cNvPr id="7" name="Straight Connector 6">
            <a:extLst>
              <a:ext uri="{FF2B5EF4-FFF2-40B4-BE49-F238E27FC236}">
                <a16:creationId xmlns:a16="http://schemas.microsoft.com/office/drawing/2014/main" id="{083C5221-21BA-9394-51D8-001796C14B6A}"/>
              </a:ext>
            </a:extLst>
          </p:cNvPr>
          <p:cNvCxnSpPr>
            <a:cxnSpLocks/>
          </p:cNvCxnSpPr>
          <p:nvPr/>
        </p:nvCxnSpPr>
        <p:spPr>
          <a:xfrm>
            <a:off x="821126" y="3302309"/>
            <a:ext cx="0" cy="57646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4F5D6CB2-76A2-41DD-E160-33F5AF3EAC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3759399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E07DA0B-BD30-4A82-939E-DF2F81DA4653}"/>
              </a:ext>
            </a:extLst>
          </p:cNvPr>
          <p:cNvSpPr txBox="1"/>
          <p:nvPr/>
        </p:nvSpPr>
        <p:spPr>
          <a:xfrm>
            <a:off x="334109" y="1153112"/>
            <a:ext cx="898344" cy="307777"/>
          </a:xfrm>
          <a:prstGeom prst="rect">
            <a:avLst/>
          </a:prstGeom>
          <a:solidFill>
            <a:srgbClr val="F1ECFA"/>
          </a:solidFill>
        </p:spPr>
        <p:txBody>
          <a:bodyPr wrap="square" rtlCol="0">
            <a:spAutoFit/>
          </a:bodyPr>
          <a:lstStyle/>
          <a:p>
            <a:r>
              <a:rPr lang="en-GB" sz="1400" b="1">
                <a:solidFill>
                  <a:schemeClr val="tx2"/>
                </a:solidFill>
                <a:latin typeface="Inter" panose="02000503000000020004" pitchFamily="2" charset="0"/>
                <a:ea typeface="Inter" panose="02000503000000020004" pitchFamily="2" charset="0"/>
              </a:rPr>
              <a:t>Solar</a:t>
            </a:r>
          </a:p>
        </p:txBody>
      </p:sp>
      <p:sp>
        <p:nvSpPr>
          <p:cNvPr id="3" name="Title 2">
            <a:extLst>
              <a:ext uri="{FF2B5EF4-FFF2-40B4-BE49-F238E27FC236}">
                <a16:creationId xmlns:a16="http://schemas.microsoft.com/office/drawing/2014/main" id="{3F364A8F-5001-4FDB-B124-0E943CDBDC1A}"/>
              </a:ext>
            </a:extLst>
          </p:cNvPr>
          <p:cNvSpPr>
            <a:spLocks noGrp="1"/>
          </p:cNvSpPr>
          <p:nvPr>
            <p:ph type="title"/>
          </p:nvPr>
        </p:nvSpPr>
        <p:spPr>
          <a:xfrm>
            <a:off x="334107" y="423741"/>
            <a:ext cx="12765667" cy="572721"/>
          </a:xfrm>
        </p:spPr>
        <p:txBody>
          <a:bodyPr/>
          <a:lstStyle/>
          <a:p>
            <a:r>
              <a:rPr lang="en-GB" sz="3200"/>
              <a:t>Match the renewable energy sources to the explanation…</a:t>
            </a:r>
          </a:p>
        </p:txBody>
      </p:sp>
      <p:sp>
        <p:nvSpPr>
          <p:cNvPr id="6" name="TextBox 5">
            <a:extLst>
              <a:ext uri="{FF2B5EF4-FFF2-40B4-BE49-F238E27FC236}">
                <a16:creationId xmlns:a16="http://schemas.microsoft.com/office/drawing/2014/main" id="{9C9B06FD-6B1C-458A-AF70-E6ABA837382D}"/>
              </a:ext>
            </a:extLst>
          </p:cNvPr>
          <p:cNvSpPr txBox="1"/>
          <p:nvPr/>
        </p:nvSpPr>
        <p:spPr>
          <a:xfrm>
            <a:off x="2694846" y="1153112"/>
            <a:ext cx="8664816" cy="5016758"/>
          </a:xfrm>
          <a:prstGeom prst="rect">
            <a:avLst/>
          </a:prstGeom>
          <a:noFill/>
        </p:spPr>
        <p:txBody>
          <a:bodyPr wrap="square" rtlCol="0">
            <a:spAutoFit/>
          </a:bodyPr>
          <a:lstStyle/>
          <a:p>
            <a:r>
              <a:rPr lang="en-GB" sz="1600">
                <a:solidFill>
                  <a:schemeClr val="tx2"/>
                </a:solidFill>
                <a:latin typeface="Inter" panose="02000503000000020004" pitchFamily="2" charset="0"/>
                <a:ea typeface="Inter" panose="02000503000000020004" pitchFamily="2" charset="0"/>
              </a:rPr>
              <a:t>Harnessing the natural ebb and flow of the ocean’s tides, a variety of instruments are used to capture the energy produced by the moving water.</a:t>
            </a:r>
          </a:p>
          <a:p>
            <a:endParaRPr lang="en-GB" sz="1600">
              <a:solidFill>
                <a:schemeClr val="tx2"/>
              </a:solidFill>
              <a:latin typeface="Inter" panose="02000503000000020004" pitchFamily="2" charset="0"/>
              <a:ea typeface="Inter" panose="02000503000000020004" pitchFamily="2" charset="0"/>
            </a:endParaRPr>
          </a:p>
          <a:p>
            <a:r>
              <a:rPr lang="en-GB" sz="1600">
                <a:solidFill>
                  <a:schemeClr val="tx2"/>
                </a:solidFill>
                <a:latin typeface="Inter" panose="02000503000000020004" pitchFamily="2" charset="0"/>
                <a:ea typeface="Inter" panose="02000503000000020004" pitchFamily="2" charset="0"/>
              </a:rPr>
              <a:t>Similar to the way we capture wind power, in this case power is produced by building turbines in moving water.</a:t>
            </a:r>
          </a:p>
          <a:p>
            <a:endParaRPr lang="en-GB" sz="1600">
              <a:solidFill>
                <a:schemeClr val="tx2"/>
              </a:solidFill>
              <a:latin typeface="Inter" panose="02000503000000020004" pitchFamily="2" charset="0"/>
              <a:ea typeface="Inter" panose="02000503000000020004" pitchFamily="2" charset="0"/>
            </a:endParaRPr>
          </a:p>
          <a:p>
            <a:r>
              <a:rPr lang="en-GB" sz="1600">
                <a:solidFill>
                  <a:schemeClr val="tx2"/>
                </a:solidFill>
                <a:latin typeface="Inter" panose="02000503000000020004" pitchFamily="2" charset="0"/>
                <a:ea typeface="Inter" panose="02000503000000020004" pitchFamily="2" charset="0"/>
              </a:rPr>
              <a:t>Organic material that comes from living organisms, typically plants is usually burned to produce heat. However, this organic material can also be allowed to decompose, which creates methane gas. This gas can then be captured and used for fuel.</a:t>
            </a:r>
          </a:p>
          <a:p>
            <a:endParaRPr lang="en-GB" sz="1600">
              <a:solidFill>
                <a:schemeClr val="tx2"/>
              </a:solidFill>
              <a:latin typeface="Inter" panose="02000503000000020004" pitchFamily="2" charset="0"/>
              <a:ea typeface="Inter" panose="02000503000000020004" pitchFamily="2" charset="0"/>
            </a:endParaRPr>
          </a:p>
          <a:p>
            <a:r>
              <a:rPr lang="en-GB" sz="1600">
                <a:solidFill>
                  <a:schemeClr val="tx2"/>
                </a:solidFill>
                <a:latin typeface="Inter" panose="02000503000000020004" pitchFamily="2" charset="0"/>
                <a:ea typeface="Inter" panose="02000503000000020004" pitchFamily="2" charset="0"/>
              </a:rPr>
              <a:t>By using photovoltaic cells to capture and convert the sun’s rays into electricity, solar panels transform light into usable energy. </a:t>
            </a:r>
          </a:p>
          <a:p>
            <a:endParaRPr lang="en-GB" sz="1600">
              <a:solidFill>
                <a:schemeClr val="tx2"/>
              </a:solidFill>
              <a:latin typeface="Inter" panose="02000503000000020004" pitchFamily="2" charset="0"/>
              <a:ea typeface="Inter" panose="02000503000000020004" pitchFamily="2" charset="0"/>
            </a:endParaRPr>
          </a:p>
          <a:p>
            <a:r>
              <a:rPr lang="en-GB" sz="1600">
                <a:solidFill>
                  <a:schemeClr val="tx2"/>
                </a:solidFill>
                <a:latin typeface="Inter" panose="02000503000000020004" pitchFamily="2" charset="0"/>
                <a:ea typeface="Inter" panose="02000503000000020004" pitchFamily="2" charset="0"/>
              </a:rPr>
              <a:t>Large turbines in traditionally windy areas, energy produced by air movement can be converted into useful electricity.</a:t>
            </a:r>
          </a:p>
          <a:p>
            <a:endParaRPr lang="en-GB" sz="1600">
              <a:solidFill>
                <a:schemeClr val="tx2"/>
              </a:solidFill>
              <a:latin typeface="Inter" panose="02000503000000020004" pitchFamily="2" charset="0"/>
              <a:ea typeface="Inter" panose="02000503000000020004" pitchFamily="2" charset="0"/>
            </a:endParaRPr>
          </a:p>
          <a:p>
            <a:r>
              <a:rPr lang="en-GB" sz="1600">
                <a:solidFill>
                  <a:schemeClr val="tx2"/>
                </a:solidFill>
                <a:latin typeface="Inter" panose="02000503000000020004" pitchFamily="2" charset="0"/>
                <a:ea typeface="Inter" panose="02000503000000020004" pitchFamily="2" charset="0"/>
              </a:rPr>
              <a:t>When the Earth cooled billions of years ago, a large amount of heat was trapped beneath the Earth’s crust. By digging tunnels into the ground, we can use this heat on a controlled scale to turn water into steam, which in turn can provide heat or power a turbine to generate electricity.</a:t>
            </a:r>
          </a:p>
        </p:txBody>
      </p:sp>
      <p:cxnSp>
        <p:nvCxnSpPr>
          <p:cNvPr id="4" name="Straight Arrow Connector 3">
            <a:extLst>
              <a:ext uri="{FF2B5EF4-FFF2-40B4-BE49-F238E27FC236}">
                <a16:creationId xmlns:a16="http://schemas.microsoft.com/office/drawing/2014/main" id="{C955113E-F0C3-44E4-BEE1-4DF715381294}"/>
              </a:ext>
            </a:extLst>
          </p:cNvPr>
          <p:cNvCxnSpPr>
            <a:cxnSpLocks/>
          </p:cNvCxnSpPr>
          <p:nvPr/>
        </p:nvCxnSpPr>
        <p:spPr>
          <a:xfrm>
            <a:off x="1058069" y="1540197"/>
            <a:ext cx="1462394" cy="230497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86458D8-7692-41AB-AEAD-06887D2B5C40}"/>
              </a:ext>
            </a:extLst>
          </p:cNvPr>
          <p:cNvCxnSpPr>
            <a:cxnSpLocks/>
          </p:cNvCxnSpPr>
          <p:nvPr/>
        </p:nvCxnSpPr>
        <p:spPr>
          <a:xfrm>
            <a:off x="1152210" y="4837781"/>
            <a:ext cx="1425404" cy="95999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Curved 20">
            <a:extLst>
              <a:ext uri="{FF2B5EF4-FFF2-40B4-BE49-F238E27FC236}">
                <a16:creationId xmlns:a16="http://schemas.microsoft.com/office/drawing/2014/main" id="{E39FC63F-2509-48DD-BFFF-903F6DC91F7B}"/>
              </a:ext>
            </a:extLst>
          </p:cNvPr>
          <p:cNvCxnSpPr>
            <a:cxnSpLocks/>
          </p:cNvCxnSpPr>
          <p:nvPr/>
        </p:nvCxnSpPr>
        <p:spPr>
          <a:xfrm rot="5400000" flipH="1" flipV="1">
            <a:off x="293938" y="1779291"/>
            <a:ext cx="2752516" cy="1700532"/>
          </a:xfrm>
          <a:prstGeom prst="curvedConnector3">
            <a:avLst>
              <a:gd name="adj1" fmla="val 50000"/>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73F69DD1-B493-4E06-B192-0D560AE77BE3}"/>
              </a:ext>
            </a:extLst>
          </p:cNvPr>
          <p:cNvCxnSpPr>
            <a:cxnSpLocks/>
          </p:cNvCxnSpPr>
          <p:nvPr/>
        </p:nvCxnSpPr>
        <p:spPr>
          <a:xfrm rot="16200000" flipH="1">
            <a:off x="393480" y="2623608"/>
            <a:ext cx="2546250" cy="1882096"/>
          </a:xfrm>
          <a:prstGeom prst="curvedConnector3">
            <a:avLst>
              <a:gd name="adj1" fmla="val 50000"/>
            </a:avLst>
          </a:prstGeom>
          <a:ln w="28575">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D84D334-EF01-47AE-AC7C-7A609C95294E}"/>
              </a:ext>
            </a:extLst>
          </p:cNvPr>
          <p:cNvCxnSpPr>
            <a:cxnSpLocks/>
          </p:cNvCxnSpPr>
          <p:nvPr/>
        </p:nvCxnSpPr>
        <p:spPr>
          <a:xfrm flipV="1">
            <a:off x="1335787" y="3134959"/>
            <a:ext cx="1271867" cy="2357836"/>
          </a:xfrm>
          <a:prstGeom prst="straightConnector1">
            <a:avLst/>
          </a:prstGeom>
          <a:ln w="28575">
            <a:solidFill>
              <a:schemeClr val="tx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907DBEE-2AC2-95AF-1C58-1B0B5141FFC5}"/>
              </a:ext>
            </a:extLst>
          </p:cNvPr>
          <p:cNvSpPr txBox="1"/>
          <p:nvPr/>
        </p:nvSpPr>
        <p:spPr>
          <a:xfrm>
            <a:off x="334109" y="1904446"/>
            <a:ext cx="739318" cy="307777"/>
          </a:xfrm>
          <a:prstGeom prst="rect">
            <a:avLst/>
          </a:prstGeom>
          <a:solidFill>
            <a:srgbClr val="F1ECFA"/>
          </a:solidFill>
        </p:spPr>
        <p:txBody>
          <a:bodyPr wrap="square" rtlCol="0">
            <a:spAutoFit/>
          </a:bodyPr>
          <a:lstStyle/>
          <a:p>
            <a:r>
              <a:rPr lang="en-GB" sz="1400" b="1">
                <a:solidFill>
                  <a:schemeClr val="tx2"/>
                </a:solidFill>
                <a:latin typeface="Inter" panose="02000503000000020004" pitchFamily="2" charset="0"/>
                <a:ea typeface="Inter" panose="02000503000000020004" pitchFamily="2" charset="0"/>
              </a:rPr>
              <a:t>Wind</a:t>
            </a:r>
          </a:p>
        </p:txBody>
      </p:sp>
      <p:sp>
        <p:nvSpPr>
          <p:cNvPr id="18" name="TextBox 17">
            <a:extLst>
              <a:ext uri="{FF2B5EF4-FFF2-40B4-BE49-F238E27FC236}">
                <a16:creationId xmlns:a16="http://schemas.microsoft.com/office/drawing/2014/main" id="{334738C7-CCF5-D4B2-116E-4D5F2EE7B628}"/>
              </a:ext>
            </a:extLst>
          </p:cNvPr>
          <p:cNvSpPr txBox="1"/>
          <p:nvPr/>
        </p:nvSpPr>
        <p:spPr>
          <a:xfrm>
            <a:off x="334108" y="2931431"/>
            <a:ext cx="1565729" cy="307777"/>
          </a:xfrm>
          <a:prstGeom prst="rect">
            <a:avLst/>
          </a:prstGeom>
          <a:solidFill>
            <a:srgbClr val="F1ECFA"/>
          </a:solidFill>
        </p:spPr>
        <p:txBody>
          <a:bodyPr wrap="square" rtlCol="0">
            <a:spAutoFit/>
          </a:bodyPr>
          <a:lstStyle/>
          <a:p>
            <a:r>
              <a:rPr lang="en-GB" sz="1400" b="1">
                <a:solidFill>
                  <a:schemeClr val="tx2"/>
                </a:solidFill>
                <a:latin typeface="Inter" panose="02000503000000020004" pitchFamily="2" charset="0"/>
                <a:ea typeface="Inter" panose="02000503000000020004" pitchFamily="2" charset="0"/>
              </a:rPr>
              <a:t>Hydroelectric</a:t>
            </a:r>
          </a:p>
        </p:txBody>
      </p:sp>
      <p:sp>
        <p:nvSpPr>
          <p:cNvPr id="20" name="TextBox 19">
            <a:extLst>
              <a:ext uri="{FF2B5EF4-FFF2-40B4-BE49-F238E27FC236}">
                <a16:creationId xmlns:a16="http://schemas.microsoft.com/office/drawing/2014/main" id="{C270302D-B071-616F-B85E-F3883CB890EA}"/>
              </a:ext>
            </a:extLst>
          </p:cNvPr>
          <p:cNvSpPr txBox="1"/>
          <p:nvPr/>
        </p:nvSpPr>
        <p:spPr>
          <a:xfrm>
            <a:off x="334108" y="3932804"/>
            <a:ext cx="723961" cy="307777"/>
          </a:xfrm>
          <a:prstGeom prst="rect">
            <a:avLst/>
          </a:prstGeom>
          <a:solidFill>
            <a:srgbClr val="F1ECFA"/>
          </a:solidFill>
        </p:spPr>
        <p:txBody>
          <a:bodyPr wrap="square" rtlCol="0">
            <a:spAutoFit/>
          </a:bodyPr>
          <a:lstStyle/>
          <a:p>
            <a:r>
              <a:rPr lang="en-GB" sz="1400" b="1">
                <a:solidFill>
                  <a:schemeClr val="tx2"/>
                </a:solidFill>
                <a:latin typeface="Inter" panose="02000503000000020004" pitchFamily="2" charset="0"/>
                <a:ea typeface="Inter" panose="02000503000000020004" pitchFamily="2" charset="0"/>
              </a:rPr>
              <a:t>Wave</a:t>
            </a:r>
          </a:p>
        </p:txBody>
      </p:sp>
      <p:sp>
        <p:nvSpPr>
          <p:cNvPr id="22" name="TextBox 21">
            <a:extLst>
              <a:ext uri="{FF2B5EF4-FFF2-40B4-BE49-F238E27FC236}">
                <a16:creationId xmlns:a16="http://schemas.microsoft.com/office/drawing/2014/main" id="{00BCCDDB-DFB1-8032-91D0-F00C1E7605B4}"/>
              </a:ext>
            </a:extLst>
          </p:cNvPr>
          <p:cNvSpPr txBox="1"/>
          <p:nvPr/>
        </p:nvSpPr>
        <p:spPr>
          <a:xfrm>
            <a:off x="334109" y="4724087"/>
            <a:ext cx="1370076" cy="307777"/>
          </a:xfrm>
          <a:prstGeom prst="rect">
            <a:avLst/>
          </a:prstGeom>
          <a:solidFill>
            <a:srgbClr val="F1ECFA"/>
          </a:solidFill>
        </p:spPr>
        <p:txBody>
          <a:bodyPr wrap="square" rtlCol="0">
            <a:spAutoFit/>
          </a:bodyPr>
          <a:lstStyle/>
          <a:p>
            <a:r>
              <a:rPr lang="en-GB" sz="1400" b="1">
                <a:solidFill>
                  <a:schemeClr val="tx2"/>
                </a:solidFill>
                <a:latin typeface="Inter" panose="02000503000000020004" pitchFamily="2" charset="0"/>
                <a:ea typeface="Inter" panose="02000503000000020004" pitchFamily="2" charset="0"/>
              </a:rPr>
              <a:t>Geothermal</a:t>
            </a:r>
          </a:p>
        </p:txBody>
      </p:sp>
      <p:cxnSp>
        <p:nvCxnSpPr>
          <p:cNvPr id="52" name="Straight Arrow Connector 51">
            <a:extLst>
              <a:ext uri="{FF2B5EF4-FFF2-40B4-BE49-F238E27FC236}">
                <a16:creationId xmlns:a16="http://schemas.microsoft.com/office/drawing/2014/main" id="{2A2D6977-82C7-44E0-BADF-C94C840FEE1B}"/>
              </a:ext>
            </a:extLst>
          </p:cNvPr>
          <p:cNvCxnSpPr>
            <a:cxnSpLocks/>
          </p:cNvCxnSpPr>
          <p:nvPr/>
        </p:nvCxnSpPr>
        <p:spPr>
          <a:xfrm flipV="1">
            <a:off x="1536803" y="2291529"/>
            <a:ext cx="948493" cy="715987"/>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CC85921-3C5C-3E38-45DF-0ADACBA4AF6E}"/>
              </a:ext>
            </a:extLst>
          </p:cNvPr>
          <p:cNvSpPr txBox="1"/>
          <p:nvPr/>
        </p:nvSpPr>
        <p:spPr>
          <a:xfrm>
            <a:off x="334109" y="5490016"/>
            <a:ext cx="971638" cy="307777"/>
          </a:xfrm>
          <a:prstGeom prst="rect">
            <a:avLst/>
          </a:prstGeom>
          <a:solidFill>
            <a:srgbClr val="F1ECFA"/>
          </a:solidFill>
        </p:spPr>
        <p:txBody>
          <a:bodyPr wrap="square" rtlCol="0">
            <a:spAutoFit/>
          </a:bodyPr>
          <a:lstStyle/>
          <a:p>
            <a:r>
              <a:rPr lang="en-GB" sz="1400" b="1">
                <a:solidFill>
                  <a:schemeClr val="tx2"/>
                </a:solidFill>
                <a:latin typeface="Inter" panose="02000503000000020004" pitchFamily="2" charset="0"/>
                <a:ea typeface="Inter" panose="02000503000000020004" pitchFamily="2" charset="0"/>
              </a:rPr>
              <a:t>Biomass</a:t>
            </a:r>
          </a:p>
        </p:txBody>
      </p:sp>
    </p:spTree>
    <p:extLst>
      <p:ext uri="{BB962C8B-B14F-4D97-AF65-F5344CB8AC3E}">
        <p14:creationId xmlns:p14="http://schemas.microsoft.com/office/powerpoint/2010/main" val="2645340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Wooden Dowel Packs">
            <a:extLst>
              <a:ext uri="{FF2B5EF4-FFF2-40B4-BE49-F238E27FC236}">
                <a16:creationId xmlns:a16="http://schemas.microsoft.com/office/drawing/2014/main" id="{CF087145-1DCE-4C8F-B6F9-A5DEE1FFAE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9566032" y="0"/>
            <a:ext cx="2625968" cy="262596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Single Wall Corrugated Cardboard Sheets For Packing, Mailing, Arts &amp; Crafts  | A0, A1, A2, A3, A4, A5">
            <a:extLst>
              <a:ext uri="{FF2B5EF4-FFF2-40B4-BE49-F238E27FC236}">
                <a16:creationId xmlns:a16="http://schemas.microsoft.com/office/drawing/2014/main" id="{852EC575-2789-4687-8564-854974D992F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391" b="17780"/>
          <a:stretch/>
        </p:blipFill>
        <p:spPr bwMode="auto">
          <a:xfrm flipH="1">
            <a:off x="8969839" y="2625969"/>
            <a:ext cx="3222161" cy="3131171"/>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Cotton String">
            <a:extLst>
              <a:ext uri="{FF2B5EF4-FFF2-40B4-BE49-F238E27FC236}">
                <a16:creationId xmlns:a16="http://schemas.microsoft.com/office/drawing/2014/main" id="{D25B61DA-6972-40AE-A4A7-16AF0778A3F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947"/>
          <a:stretch/>
        </p:blipFill>
        <p:spPr bwMode="auto">
          <a:xfrm flipH="1">
            <a:off x="7643447" y="1"/>
            <a:ext cx="2286000" cy="2625969"/>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rtstraw — ShopRCA">
            <a:extLst>
              <a:ext uri="{FF2B5EF4-FFF2-40B4-BE49-F238E27FC236}">
                <a16:creationId xmlns:a16="http://schemas.microsoft.com/office/drawing/2014/main" id="{0C77DC38-7AE8-4DFA-9853-B624921FB454}"/>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5343"/>
          <a:stretch/>
        </p:blipFill>
        <p:spPr bwMode="auto">
          <a:xfrm>
            <a:off x="7643447" y="2625970"/>
            <a:ext cx="2963871" cy="313117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E07DA0B-BD30-4A82-939E-DF2F81DA4653}"/>
              </a:ext>
            </a:extLst>
          </p:cNvPr>
          <p:cNvSpPr txBox="1"/>
          <p:nvPr/>
        </p:nvSpPr>
        <p:spPr>
          <a:xfrm>
            <a:off x="334109" y="1493419"/>
            <a:ext cx="7309338" cy="3693319"/>
          </a:xfrm>
          <a:prstGeom prst="rect">
            <a:avLst/>
          </a:prstGeom>
          <a:noFill/>
        </p:spPr>
        <p:txBody>
          <a:bodyPr wrap="square" rtlCol="0">
            <a:spAutoFit/>
          </a:bodyPr>
          <a:lstStyle/>
          <a:p>
            <a:r>
              <a:rPr lang="en-GB">
                <a:solidFill>
                  <a:schemeClr val="tx2"/>
                </a:solidFill>
                <a:latin typeface="Inter" panose="02000503000000020004" pitchFamily="2" charset="0"/>
                <a:ea typeface="Inter" panose="02000503000000020004" pitchFamily="2" charset="0"/>
              </a:rPr>
              <a:t>Your challenge today is to produce a working model of a machine that can lift a weight from the floor to table height but only using a renewable energy source.</a:t>
            </a:r>
          </a:p>
          <a:p>
            <a:endParaRPr lang="en-GB">
              <a:solidFill>
                <a:schemeClr val="tx2"/>
              </a:solidFill>
              <a:latin typeface="Inter" panose="02000503000000020004" pitchFamily="2" charset="0"/>
              <a:ea typeface="Inter" panose="02000503000000020004" pitchFamily="2" charset="0"/>
            </a:endParaRPr>
          </a:p>
          <a:p>
            <a:r>
              <a:rPr lang="en-GB">
                <a:solidFill>
                  <a:schemeClr val="tx2"/>
                </a:solidFill>
                <a:latin typeface="Inter" panose="02000503000000020004" pitchFamily="2" charset="0"/>
                <a:ea typeface="Inter" panose="02000503000000020004" pitchFamily="2" charset="0"/>
              </a:rPr>
              <a:t>The energy source you have to work with is the wind (we’ll generate this using an electric fan).</a:t>
            </a:r>
          </a:p>
          <a:p>
            <a:endParaRPr lang="en-GB">
              <a:solidFill>
                <a:schemeClr val="tx2"/>
              </a:solidFill>
              <a:latin typeface="Inter" panose="02000503000000020004" pitchFamily="2" charset="0"/>
              <a:ea typeface="Inter" panose="02000503000000020004" pitchFamily="2" charset="0"/>
            </a:endParaRPr>
          </a:p>
          <a:p>
            <a:r>
              <a:rPr lang="en-GB">
                <a:solidFill>
                  <a:schemeClr val="tx2"/>
                </a:solidFill>
                <a:latin typeface="Inter" panose="02000503000000020004" pitchFamily="2" charset="0"/>
                <a:ea typeface="Inter" panose="02000503000000020004" pitchFamily="2" charset="0"/>
              </a:rPr>
              <a:t>The resources you have access to are listed below:</a:t>
            </a:r>
          </a:p>
          <a:p>
            <a:r>
              <a:rPr lang="en-GB">
                <a:solidFill>
                  <a:schemeClr val="tx2"/>
                </a:solidFill>
                <a:latin typeface="Inter" panose="02000503000000020004" pitchFamily="2" charset="0"/>
                <a:ea typeface="Inter" panose="02000503000000020004" pitchFamily="2" charset="0"/>
              </a:rPr>
              <a:t>Dowel | Corrugated cardboard | String | Art Straws</a:t>
            </a:r>
          </a:p>
          <a:p>
            <a:endParaRPr lang="en-GB">
              <a:solidFill>
                <a:schemeClr val="tx2"/>
              </a:solidFill>
              <a:latin typeface="Inter" panose="02000503000000020004" pitchFamily="2" charset="0"/>
              <a:ea typeface="Inter" panose="02000503000000020004" pitchFamily="2" charset="0"/>
            </a:endParaRPr>
          </a:p>
          <a:p>
            <a:r>
              <a:rPr lang="en-GB">
                <a:solidFill>
                  <a:schemeClr val="tx2"/>
                </a:solidFill>
                <a:latin typeface="Inter" panose="02000503000000020004" pitchFamily="2" charset="0"/>
                <a:ea typeface="Inter" panose="02000503000000020004" pitchFamily="2" charset="0"/>
              </a:rPr>
              <a:t>Hot glue gun | Scissors | Stanley Knife | Masking tape</a:t>
            </a:r>
          </a:p>
          <a:p>
            <a:endParaRPr lang="en-GB">
              <a:solidFill>
                <a:schemeClr val="tx2"/>
              </a:solidFill>
              <a:latin typeface="Inter" panose="02000503000000020004" pitchFamily="2" charset="0"/>
              <a:ea typeface="Inter" panose="02000503000000020004" pitchFamily="2" charset="0"/>
            </a:endParaRPr>
          </a:p>
          <a:p>
            <a:r>
              <a:rPr lang="en-GB">
                <a:solidFill>
                  <a:schemeClr val="tx2"/>
                </a:solidFill>
                <a:latin typeface="Inter" panose="02000503000000020004" pitchFamily="2" charset="0"/>
                <a:ea typeface="Inter" panose="02000503000000020004" pitchFamily="2" charset="0"/>
              </a:rPr>
              <a:t>Electric fan </a:t>
            </a:r>
          </a:p>
        </p:txBody>
      </p:sp>
      <p:sp>
        <p:nvSpPr>
          <p:cNvPr id="3" name="Title 2">
            <a:extLst>
              <a:ext uri="{FF2B5EF4-FFF2-40B4-BE49-F238E27FC236}">
                <a16:creationId xmlns:a16="http://schemas.microsoft.com/office/drawing/2014/main" id="{3F364A8F-5001-4FDB-B124-0E943CDBDC1A}"/>
              </a:ext>
            </a:extLst>
          </p:cNvPr>
          <p:cNvSpPr>
            <a:spLocks noGrp="1"/>
          </p:cNvSpPr>
          <p:nvPr>
            <p:ph type="title"/>
          </p:nvPr>
        </p:nvSpPr>
        <p:spPr/>
        <p:txBody>
          <a:bodyPr/>
          <a:lstStyle/>
          <a:p>
            <a:r>
              <a:rPr lang="en-GB"/>
              <a:t>So with sustainability in mind…</a:t>
            </a:r>
          </a:p>
        </p:txBody>
      </p:sp>
      <p:pic>
        <p:nvPicPr>
          <p:cNvPr id="4" name="Graphic 3">
            <a:extLst>
              <a:ext uri="{FF2B5EF4-FFF2-40B4-BE49-F238E27FC236}">
                <a16:creationId xmlns:a16="http://schemas.microsoft.com/office/drawing/2014/main" id="{C531B7FC-8506-752C-ECFB-0BD5C1A0B1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3772768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eers &amp; Skills">
  <a:themeElements>
    <a:clrScheme name="Careers &amp; Skills">
      <a:dk1>
        <a:srgbClr val="000000"/>
      </a:dk1>
      <a:lt1>
        <a:srgbClr val="FFFFFF"/>
      </a:lt1>
      <a:dk2>
        <a:srgbClr val="3E1A1C"/>
      </a:dk2>
      <a:lt2>
        <a:srgbClr val="FFFFFF"/>
      </a:lt2>
      <a:accent1>
        <a:srgbClr val="C7B2EA"/>
      </a:accent1>
      <a:accent2>
        <a:srgbClr val="3ADCC9"/>
      </a:accent2>
      <a:accent3>
        <a:srgbClr val="D0C3D0"/>
      </a:accent3>
      <a:accent4>
        <a:srgbClr val="635865"/>
      </a:accent4>
      <a:accent5>
        <a:srgbClr val="3F2A59"/>
      </a:accent5>
      <a:accent6>
        <a:srgbClr val="E3D8F5"/>
      </a:accent6>
      <a:hlink>
        <a:srgbClr val="C7B2EA"/>
      </a:hlink>
      <a:folHlink>
        <a:srgbClr val="D5C5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eswork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eswork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Design">
  <a:themeElements>
    <a:clrScheme name="BT BRAND 09 SEPT 22">
      <a:dk1>
        <a:sysClr val="windowText" lastClr="000000"/>
      </a:dk1>
      <a:lt1>
        <a:sysClr val="window" lastClr="FFFFFF"/>
      </a:lt1>
      <a:dk2>
        <a:srgbClr val="87005F"/>
      </a:dk2>
      <a:lt2>
        <a:srgbClr val="142032"/>
      </a:lt2>
      <a:accent1>
        <a:srgbClr val="5514B4"/>
      </a:accent1>
      <a:accent2>
        <a:srgbClr val="009BA5"/>
      </a:accent2>
      <a:accent3>
        <a:srgbClr val="FF80FF"/>
      </a:accent3>
      <a:accent4>
        <a:srgbClr val="43B072"/>
      </a:accent4>
      <a:accent5>
        <a:srgbClr val="C81E6E"/>
      </a:accent5>
      <a:accent6>
        <a:srgbClr val="EDF23B"/>
      </a:accent6>
      <a:hlink>
        <a:srgbClr val="5514B4"/>
      </a:hlink>
      <a:folHlink>
        <a:srgbClr val="5514B4"/>
      </a:folHlink>
    </a:clrScheme>
    <a:fontScheme name="BT NEW BRAND">
      <a:majorFont>
        <a:latin typeface="BT Group Headline"/>
        <a:ea typeface=""/>
        <a:cs typeface=""/>
      </a:majorFont>
      <a:minorFont>
        <a:latin typeface="BT Curv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igrationWizIdPermissionLevels xmlns="c51e0c16-3c70-4bed-930f-b02839d0dd8b" xsi:nil="true"/>
    <MigrationWizId xmlns="c51e0c16-3c70-4bed-930f-b02839d0dd8b" xsi:nil="true"/>
    <MigrationWizIdPermissions xmlns="c51e0c16-3c70-4bed-930f-b02839d0dd8b" xsi:nil="true"/>
    <MigrationWizIdDocumentLibraryPermissions xmlns="c51e0c16-3c70-4bed-930f-b02839d0dd8b" xsi:nil="true"/>
    <TaxCatchAll xmlns="5f308053-a768-43f1-bf66-06210bb74c0d" xsi:nil="true"/>
    <lcf76f155ced4ddcb4097134ff3c332f xmlns="c51e0c16-3c70-4bed-930f-b02839d0dd8b">
      <Terms xmlns="http://schemas.microsoft.com/office/infopath/2007/PartnerControls"/>
    </lcf76f155ced4ddcb4097134ff3c332f>
    <MigrationWizIdSecurityGroups xmlns="c51e0c16-3c70-4bed-930f-b02839d0dd8b" xsi:nil="true"/>
    <Review_x0020_Status xmlns="c51e0c16-3c70-4bed-930f-b02839d0dd8b" xsi:nil="true"/>
    <Link xmlns="c51e0c16-3c70-4bed-930f-b02839d0dd8b">
      <Url xsi:nil="true"/>
      <Description xsi:nil="true"/>
    </Link>
    <_Flow_SignoffStatus xmlns="c51e0c16-3c70-4bed-930f-b02839d0dd8b" xsi:nil="true"/>
    <SharedWithUsers xmlns="5f308053-a768-43f1-bf66-06210bb74c0d">
      <UserInfo>
        <DisplayName>Sarah Brown</DisplayName>
        <AccountId>152</AccountId>
        <AccountType/>
      </UserInfo>
    </SharedWithUsers>
    <Progress xmlns="c51e0c16-3c70-4bed-930f-b02839d0dd8b">In Review</Progress>
    <Modes xmlns="c51e0c16-3c70-4bed-930f-b02839d0dd8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3B37C370094A947B45A665807D95A87" ma:contentTypeVersion="33" ma:contentTypeDescription="Create a new document." ma:contentTypeScope="" ma:versionID="e81f58c608359e745d252ca715e5d9f4">
  <xsd:schema xmlns:xsd="http://www.w3.org/2001/XMLSchema" xmlns:xs="http://www.w3.org/2001/XMLSchema" xmlns:p="http://schemas.microsoft.com/office/2006/metadata/properties" xmlns:ns1="c51e0c16-3c70-4bed-930f-b02839d0dd8b" xmlns:ns3="5f308053-a768-43f1-bf66-06210bb74c0d" targetNamespace="http://schemas.microsoft.com/office/2006/metadata/properties" ma:root="true" ma:fieldsID="e1a01f29c5ff43f598b60aeb9896ffb7" ns1:_="" ns3:_="">
    <xsd:import namespace="c51e0c16-3c70-4bed-930f-b02839d0dd8b"/>
    <xsd:import namespace="5f308053-a768-43f1-bf66-06210bb74c0d"/>
    <xsd:element name="properties">
      <xsd:complexType>
        <xsd:sequence>
          <xsd:element name="documentManagement">
            <xsd:complexType>
              <xsd:all>
                <xsd:element ref="ns1:Review_x0020_Status" minOccurs="0"/>
                <xsd:element ref="ns1:Link" minOccurs="0"/>
                <xsd:element ref="ns1:_Flow_SignoffStatus" minOccurs="0"/>
                <xsd:element ref="ns1:MigrationWizId" minOccurs="0"/>
                <xsd:element ref="ns1:MigrationWizIdPermissions" minOccurs="0"/>
                <xsd:element ref="ns1:MigrationWizIdPermissionLevels" minOccurs="0"/>
                <xsd:element ref="ns1:MigrationWizIdDocumentLibraryPermissions" minOccurs="0"/>
                <xsd:element ref="ns1:MigrationWizIdSecurityGroups" minOccurs="0"/>
                <xsd:element ref="ns1:MediaServiceMetadata" minOccurs="0"/>
                <xsd:element ref="ns1:MediaServiceFastMetadata" minOccurs="0"/>
                <xsd:element ref="ns1:MediaServiceDateTaken" minOccurs="0"/>
                <xsd:element ref="ns1:MediaServiceAutoKeyPoints" minOccurs="0"/>
                <xsd:element ref="ns1:MediaServiceKeyPoints" minOccurs="0"/>
                <xsd:element ref="ns1:MediaServiceAutoTags" minOccurs="0"/>
                <xsd:element ref="ns1:MediaServiceOCR" minOccurs="0"/>
                <xsd:element ref="ns1:MediaServiceGenerationTime" minOccurs="0"/>
                <xsd:element ref="ns1:MediaServiceEventHashCode" minOccurs="0"/>
                <xsd:element ref="ns1:MediaServiceLocation" minOccurs="0"/>
                <xsd:element ref="ns3:SharedWithUsers" minOccurs="0"/>
                <xsd:element ref="ns3:SharedWithDetails" minOccurs="0"/>
                <xsd:element ref="ns1:MediaLengthInSeconds" minOccurs="0"/>
                <xsd:element ref="ns1:lcf76f155ced4ddcb4097134ff3c332f" minOccurs="0"/>
                <xsd:element ref="ns3:TaxCatchAll" minOccurs="0"/>
                <xsd:element ref="ns1:MediaServiceObjectDetectorVersions" minOccurs="0"/>
                <xsd:element ref="ns1:Progress" minOccurs="0"/>
                <xsd:element ref="ns1:Modes" minOccurs="0"/>
                <xsd:element ref="ns1:MediaServiceSearchProperties" minOccurs="0"/>
                <xsd:element ref="ns1: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1e0c16-3c70-4bed-930f-b02839d0dd8b" elementFormDefault="qualified">
    <xsd:import namespace="http://schemas.microsoft.com/office/2006/documentManagement/types"/>
    <xsd:import namespace="http://schemas.microsoft.com/office/infopath/2007/PartnerControls"/>
    <xsd:element name="Review_x0020_Status" ma:index="0" nillable="true" ma:displayName="Review Status" ma:format="Dropdown" ma:internalName="Review_x0020_Status">
      <xsd:complexType>
        <xsd:complexContent>
          <xsd:extension base="dms:MultiChoiceFillIn">
            <xsd:sequence>
              <xsd:element name="Value" maxOccurs="unbounded" minOccurs="0" nillable="true">
                <xsd:simpleType>
                  <xsd:union memberTypes="dms:Text">
                    <xsd:simpleType>
                      <xsd:restriction base="dms:Choice">
                        <xsd:enumeration value="In Process"/>
                        <xsd:enumeration value="In Review"/>
                        <xsd:enumeration value="Signed Off"/>
                      </xsd:restriction>
                    </xsd:simpleType>
                  </xsd:union>
                </xsd:simpleType>
              </xsd:element>
            </xsd:sequence>
          </xsd:extension>
        </xsd:complexContent>
      </xsd:complexType>
    </xsd:element>
    <xsd:element name="Link" ma:index="4" nillable="true" ma:displayName="Link" ma:format="Hyperlink" ma:internalName="Link"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Flow_SignoffStatus" ma:index="5" nillable="true" ma:displayName="Sign-off status" ma:hidden="true" ma:internalName="Sign_x002d_off_x0020_status" ma:readOnly="false">
      <xsd:simpleType>
        <xsd:restriction base="dms:Text"/>
      </xsd:simpleType>
    </xsd:element>
    <xsd:element name="MigrationWizId" ma:index="8" nillable="true" ma:displayName="MigrationWizId" ma:hidden="true" ma:internalName="MigrationWizId" ma:readOnly="false">
      <xsd:simpleType>
        <xsd:restriction base="dms:Text"/>
      </xsd:simpleType>
    </xsd:element>
    <xsd:element name="MigrationWizIdPermissions" ma:index="9" nillable="true" ma:displayName="MigrationWizIdPermissions" ma:hidden="true" ma:internalName="MigrationWizIdPermissions" ma:readOnly="false">
      <xsd:simpleType>
        <xsd:restriction base="dms:Text"/>
      </xsd:simpleType>
    </xsd:element>
    <xsd:element name="MigrationWizIdPermissionLevels" ma:index="10" nillable="true" ma:displayName="MigrationWizIdPermissionLevels" ma:hidden="true" ma:internalName="MigrationWizIdPermissionLevels" ma:readOnly="false">
      <xsd:simpleType>
        <xsd:restriction base="dms:Text"/>
      </xsd:simpleType>
    </xsd:element>
    <xsd:element name="MigrationWizIdDocumentLibraryPermissions" ma:index="11" nillable="true" ma:displayName="MigrationWizIdDocumentLibraryPermissions" ma:hidden="true" ma:internalName="MigrationWizIdDocumentLibraryPermissions" ma:readOnly="false">
      <xsd:simpleType>
        <xsd:restriction base="dms:Text"/>
      </xsd:simpleType>
    </xsd:element>
    <xsd:element name="MigrationWizIdSecurityGroups" ma:index="12" nillable="true" ma:displayName="MigrationWizIdSecurityGroups" ma:hidden="true" ma:internalName="MigrationWizIdSecurityGroups" ma:readOnly="false">
      <xsd:simpleType>
        <xsd:restriction base="dms:Text"/>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true">
      <xsd:simpleType>
        <xsd:restriction base="dms:Note"/>
      </xsd:simpleType>
    </xsd:element>
    <xsd:element name="MediaServiceAutoTags" ma:index="18" nillable="true" ma:displayName="Tags" ma:hidden="true" ma:internalName="MediaServiceAutoTags" ma:readOnly="true">
      <xsd:simpleType>
        <xsd:restriction base="dms:Text"/>
      </xsd:simpleType>
    </xsd:element>
    <xsd:element name="MediaServiceOCR" ma:index="19" nillable="true" ma:displayName="Extracted Text" ma:hidden="true" ma:internalName="MediaServiceOCR" ma:readOnly="true">
      <xsd:simpleType>
        <xsd:restriction base="dms:Note"/>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hidden="true" ma:internalName="MediaServiceLocation" ma:readOnly="true">
      <xsd:simpleType>
        <xsd:restriction base="dms:Text"/>
      </xsd:simpleType>
    </xsd:element>
    <xsd:element name="MediaLengthInSeconds" ma:index="26" nillable="true" ma:displayName="Length (seconds)" ma:hidden="true"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34afddb5-dc7d-4a25-90c0-e68c37b0a60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2" nillable="true" ma:displayName="MediaServiceObjectDetectorVersions" ma:description="" ma:hidden="true" ma:indexed="true" ma:internalName="MediaServiceObjectDetectorVersions" ma:readOnly="true">
      <xsd:simpleType>
        <xsd:restriction base="dms:Text"/>
      </xsd:simpleType>
    </xsd:element>
    <xsd:element name="Progress" ma:index="33" nillable="true" ma:displayName="Progress" ma:default="In Review" ma:description="Where is this document in process" ma:format="Dropdown" ma:internalName="Progress">
      <xsd:simpleType>
        <xsd:restriction base="dms:Choice">
          <xsd:enumeration value="In Review"/>
          <xsd:enumeration value="With TVCA Comm"/>
          <xsd:enumeration value="Live on Website"/>
          <xsd:enumeration value="Archived"/>
        </xsd:restriction>
      </xsd:simpleType>
    </xsd:element>
    <xsd:element name="Modes" ma:index="34" nillable="true" ma:displayName="Modes" ma:description="Which modes does this scheme include" ma:format="Dropdown" ma:internalName="Modes">
      <xsd:simpleType>
        <xsd:restriction base="dms:Text">
          <xsd:maxLength value="255"/>
        </xsd:restriction>
      </xsd:simpleType>
    </xsd:element>
    <xsd:element name="MediaServiceSearchProperties" ma:index="35" nillable="true" ma:displayName="MediaServiceSearchProperties" ma:hidden="true" ma:internalName="MediaServiceSearchProperties" ma:readOnly="true">
      <xsd:simpleType>
        <xsd:restriction base="dms:Note"/>
      </xsd:simpleType>
    </xsd:element>
    <xsd:element name="MediaServiceBillingMetadata" ma:index="3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308053-a768-43f1-bf66-06210bb74c0d" elementFormDefault="qualified">
    <xsd:import namespace="http://schemas.microsoft.com/office/2006/documentManagement/types"/>
    <xsd:import namespace="http://schemas.microsoft.com/office/infopath/2007/PartnerControls"/>
    <xsd:element name="SharedWithUsers" ma:index="23"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Shared With Details" ma:hidden="true" ma:internalName="SharedWithDetails" ma:readOnly="true">
      <xsd:simpleType>
        <xsd:restriction base="dms:Note"/>
      </xsd:simpleType>
    </xsd:element>
    <xsd:element name="TaxCatchAll" ma:index="29" nillable="true" ma:displayName="Taxonomy Catch All Column" ma:hidden="true" ma:list="{43247f23-7141-4778-a08d-7843529ef0d0}" ma:internalName="TaxCatchAll" ma:readOnly="false" ma:showField="CatchAllData" ma:web="5f308053-a768-43f1-bf66-06210bb74c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392D4B-F9B8-4B52-A57E-ECCE311D2319}">
  <ds:schemaRefs>
    <ds:schemaRef ds:uri="5f308053-a768-43f1-bf66-06210bb74c0d"/>
    <ds:schemaRef ds:uri="c51e0c16-3c70-4bed-930f-b02839d0dd8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06FE422-ACCB-4C8D-9FF6-EED569EAECC2}">
  <ds:schemaRefs>
    <ds:schemaRef ds:uri="5f308053-a768-43f1-bf66-06210bb74c0d"/>
    <ds:schemaRef ds:uri="c51e0c16-3c70-4bed-930f-b02839d0dd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A592CD5-2983-4C3F-891C-5C6F3C85498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6</Slides>
  <Notes>16</Notes>
  <HiddenSlides>0</HiddenSlides>
  <ScaleCrop>false</ScaleCrop>
  <HeadingPairs>
    <vt:vector size="4" baseType="variant">
      <vt:variant>
        <vt:lpstr>Theme</vt:lpstr>
      </vt:variant>
      <vt:variant>
        <vt:i4>4</vt:i4>
      </vt:variant>
      <vt:variant>
        <vt:lpstr>Slide Titles</vt:lpstr>
      </vt:variant>
      <vt:variant>
        <vt:i4>16</vt:i4>
      </vt:variant>
    </vt:vector>
  </HeadingPairs>
  <TitlesOfParts>
    <vt:vector size="20" baseType="lpstr">
      <vt:lpstr>Careers &amp; Skills</vt:lpstr>
      <vt:lpstr>2_Teesworks</vt:lpstr>
      <vt:lpstr>Teesworks</vt:lpstr>
      <vt:lpstr>Custom Design</vt:lpstr>
      <vt:lpstr>Cummins Engineering careers   </vt:lpstr>
      <vt:lpstr>Relevance of Cummins:</vt:lpstr>
      <vt:lpstr>PowerPoint Presentation</vt:lpstr>
      <vt:lpstr>Engineering jobs:</vt:lpstr>
      <vt:lpstr>Energy &amp; Low Carbon jobs:</vt:lpstr>
      <vt:lpstr>The Teesside Area &amp; Engineering</vt:lpstr>
      <vt:lpstr>Sustainability</vt:lpstr>
      <vt:lpstr>Match the renewable energy sources to the explanation…</vt:lpstr>
      <vt:lpstr>So with sustainability in mind…</vt:lpstr>
      <vt:lpstr>Wind Powered Lift – The Challenge…</vt:lpstr>
      <vt:lpstr>Wind Powered Lift – Tips…</vt:lpstr>
      <vt:lpstr>Previous examples</vt:lpstr>
      <vt:lpstr>Wind Powered Lift  – Testing…</vt:lpstr>
      <vt:lpstr>What you have just done…</vt:lpstr>
      <vt:lpstr>What next… Take a look at these useful links:</vt:lpstr>
      <vt:lpstr>An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tter.</dc:creator>
  <cp:revision>1</cp:revision>
  <dcterms:created xsi:type="dcterms:W3CDTF">2023-01-18T13:08:49Z</dcterms:created>
  <dcterms:modified xsi:type="dcterms:W3CDTF">2025-06-30T07:5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B37C370094A947B45A665807D95A87</vt:lpwstr>
  </property>
  <property fmtid="{D5CDD505-2E9C-101B-9397-08002B2CF9AE}" pid="3" name="MediaServiceImageTags">
    <vt:lpwstr/>
  </property>
</Properties>
</file>